
<file path=[Content_Types].xml><?xml version="1.0" encoding="utf-8"?>
<Types xmlns="http://schemas.openxmlformats.org/package/2006/content-types">
  <Default Extension="gif" ContentType="image/gi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0" r:id="rId1"/>
  </p:sldMasterIdLst>
  <p:notesMasterIdLst>
    <p:notesMasterId r:id="rId28"/>
  </p:notesMasterIdLst>
  <p:handoutMasterIdLst>
    <p:handoutMasterId r:id="rId29"/>
  </p:handoutMasterIdLst>
  <p:sldIdLst>
    <p:sldId id="371" r:id="rId2"/>
    <p:sldId id="400" r:id="rId3"/>
    <p:sldId id="401" r:id="rId4"/>
    <p:sldId id="409" r:id="rId5"/>
    <p:sldId id="403" r:id="rId6"/>
    <p:sldId id="402" r:id="rId7"/>
    <p:sldId id="404" r:id="rId8"/>
    <p:sldId id="396" r:id="rId9"/>
    <p:sldId id="399" r:id="rId10"/>
    <p:sldId id="414" r:id="rId11"/>
    <p:sldId id="415" r:id="rId12"/>
    <p:sldId id="416" r:id="rId13"/>
    <p:sldId id="418" r:id="rId14"/>
    <p:sldId id="397" r:id="rId15"/>
    <p:sldId id="419" r:id="rId16"/>
    <p:sldId id="420" r:id="rId17"/>
    <p:sldId id="413" r:id="rId18"/>
    <p:sldId id="421" r:id="rId19"/>
    <p:sldId id="423" r:id="rId20"/>
    <p:sldId id="424" r:id="rId21"/>
    <p:sldId id="425" r:id="rId22"/>
    <p:sldId id="426" r:id="rId23"/>
    <p:sldId id="427" r:id="rId24"/>
    <p:sldId id="422" r:id="rId25"/>
    <p:sldId id="428" r:id="rId26"/>
    <p:sldId id="382" r:id="rId27"/>
  </p:sldIdLst>
  <p:sldSz cx="12192000" cy="6858000"/>
  <p:notesSz cx="6858000" cy="9144000"/>
  <p:custDataLst>
    <p:tags r:id="rId30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oorbeeldsheets" id="{47BB4BA3-4E46-4BEB-8185-F767B0540F99}">
          <p14:sldIdLst>
            <p14:sldId id="371"/>
            <p14:sldId id="400"/>
            <p14:sldId id="401"/>
            <p14:sldId id="409"/>
            <p14:sldId id="403"/>
            <p14:sldId id="402"/>
            <p14:sldId id="404"/>
            <p14:sldId id="396"/>
            <p14:sldId id="399"/>
            <p14:sldId id="414"/>
            <p14:sldId id="415"/>
            <p14:sldId id="416"/>
            <p14:sldId id="418"/>
            <p14:sldId id="397"/>
            <p14:sldId id="419"/>
            <p14:sldId id="420"/>
            <p14:sldId id="413"/>
            <p14:sldId id="421"/>
            <p14:sldId id="423"/>
            <p14:sldId id="424"/>
            <p14:sldId id="425"/>
            <p14:sldId id="426"/>
            <p14:sldId id="427"/>
            <p14:sldId id="422"/>
            <p14:sldId id="428"/>
            <p14:sldId id="38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2749"/>
    <a:srgbClr val="001F36"/>
    <a:srgbClr val="E2E8EF"/>
    <a:srgbClr val="0074D0"/>
    <a:srgbClr val="F2F5F8"/>
    <a:srgbClr val="ECEBEB"/>
    <a:srgbClr val="FFFFFF"/>
    <a:srgbClr val="0060A9"/>
    <a:srgbClr val="000000"/>
    <a:srgbClr val="E74D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227C9AB-61F9-4C7A-945B-75B8AE36D068}" v="120" dt="2024-12-18T16:45:31.5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8310" autoAdjust="0"/>
  </p:normalViewPr>
  <p:slideViewPr>
    <p:cSldViewPr snapToGrid="0">
      <p:cViewPr varScale="1">
        <p:scale>
          <a:sx n="94" d="100"/>
          <a:sy n="94" d="100"/>
        </p:scale>
        <p:origin x="1152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rt Vries" userId="e5e551dc-3d5a-4eff-8a2a-34ac7bf2fa92" providerId="ADAL" clId="{C227C9AB-61F9-4C7A-945B-75B8AE36D068}"/>
    <pc:docChg chg="undo custSel addSld delSld modSld sldOrd modMainMaster modSection">
      <pc:chgData name="Bart Vries" userId="e5e551dc-3d5a-4eff-8a2a-34ac7bf2fa92" providerId="ADAL" clId="{C227C9AB-61F9-4C7A-945B-75B8AE36D068}" dt="2024-12-18T17:04:18.444" v="7447" actId="20577"/>
      <pc:docMkLst>
        <pc:docMk/>
      </pc:docMkLst>
      <pc:sldChg chg="mod modShow">
        <pc:chgData name="Bart Vries" userId="e5e551dc-3d5a-4eff-8a2a-34ac7bf2fa92" providerId="ADAL" clId="{C227C9AB-61F9-4C7A-945B-75B8AE36D068}" dt="2024-12-18T09:17:58.926" v="3570" actId="729"/>
        <pc:sldMkLst>
          <pc:docMk/>
          <pc:sldMk cId="2558788076" sldId="371"/>
        </pc:sldMkLst>
      </pc:sldChg>
      <pc:sldChg chg="del">
        <pc:chgData name="Bart Vries" userId="e5e551dc-3d5a-4eff-8a2a-34ac7bf2fa92" providerId="ADAL" clId="{C227C9AB-61F9-4C7A-945B-75B8AE36D068}" dt="2024-12-11T08:38:40.119" v="771" actId="47"/>
        <pc:sldMkLst>
          <pc:docMk/>
          <pc:sldMk cId="3430674910" sldId="372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748041742" sldId="374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488274498" sldId="375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2539393883" sldId="376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53747628" sldId="377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828978099" sldId="379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462390294" sldId="380"/>
        </pc:sldMkLst>
      </pc:sldChg>
      <pc:sldChg chg="modSp del mod ord">
        <pc:chgData name="Bart Vries" userId="e5e551dc-3d5a-4eff-8a2a-34ac7bf2fa92" providerId="ADAL" clId="{C227C9AB-61F9-4C7A-945B-75B8AE36D068}" dt="2024-12-17T15:25:49.861" v="3071" actId="47"/>
        <pc:sldMkLst>
          <pc:docMk/>
          <pc:sldMk cId="620816284" sldId="384"/>
        </pc:sldMkLst>
        <pc:spChg chg="mod">
          <ac:chgData name="Bart Vries" userId="e5e551dc-3d5a-4eff-8a2a-34ac7bf2fa92" providerId="ADAL" clId="{C227C9AB-61F9-4C7A-945B-75B8AE36D068}" dt="2024-12-16T12:39:09.957" v="1580" actId="20577"/>
          <ac:spMkLst>
            <pc:docMk/>
            <pc:sldMk cId="620816284" sldId="384"/>
            <ac:spMk id="3" creationId="{E2E6FCFA-35B5-66B5-DA53-B11B56112CEC}"/>
          </ac:spMkLst>
        </pc:spChg>
        <pc:spChg chg="mod">
          <ac:chgData name="Bart Vries" userId="e5e551dc-3d5a-4eff-8a2a-34ac7bf2fa92" providerId="ADAL" clId="{C227C9AB-61F9-4C7A-945B-75B8AE36D068}" dt="2024-12-16T12:39:05.159" v="1572" actId="20577"/>
          <ac:spMkLst>
            <pc:docMk/>
            <pc:sldMk cId="620816284" sldId="384"/>
            <ac:spMk id="4" creationId="{02B41AA0-27E2-378B-4006-2AD48717B65B}"/>
          </ac:spMkLst>
        </pc:spChg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463265693" sldId="385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1012674400" sldId="386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782507767" sldId="387"/>
        </pc:sldMkLst>
      </pc:sldChg>
      <pc:sldChg chg="modSp del mod">
        <pc:chgData name="Bart Vries" userId="e5e551dc-3d5a-4eff-8a2a-34ac7bf2fa92" providerId="ADAL" clId="{C227C9AB-61F9-4C7A-945B-75B8AE36D068}" dt="2024-12-18T16:56:41.649" v="7445" actId="47"/>
        <pc:sldMkLst>
          <pc:docMk/>
          <pc:sldMk cId="2062322010" sldId="388"/>
        </pc:sldMkLst>
        <pc:spChg chg="mod">
          <ac:chgData name="Bart Vries" userId="e5e551dc-3d5a-4eff-8a2a-34ac7bf2fa92" providerId="ADAL" clId="{C227C9AB-61F9-4C7A-945B-75B8AE36D068}" dt="2024-12-06T11:09:54.399" v="197" actId="27636"/>
          <ac:spMkLst>
            <pc:docMk/>
            <pc:sldMk cId="2062322010" sldId="388"/>
            <ac:spMk id="18" creationId="{CB4D1F86-B8B6-D692-9F8F-616F223F8F27}"/>
          </ac:spMkLst>
        </pc:spChg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521789272" sldId="389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856239994" sldId="390"/>
        </pc:sldMkLst>
      </pc:sldChg>
      <pc:sldChg chg="del">
        <pc:chgData name="Bart Vries" userId="e5e551dc-3d5a-4eff-8a2a-34ac7bf2fa92" providerId="ADAL" clId="{C227C9AB-61F9-4C7A-945B-75B8AE36D068}" dt="2024-12-18T16:56:34.212" v="7444" actId="47"/>
        <pc:sldMkLst>
          <pc:docMk/>
          <pc:sldMk cId="2406159957" sldId="392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2072523949" sldId="393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2131969531" sldId="394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1893472166" sldId="395"/>
        </pc:sldMkLst>
      </pc:sldChg>
      <pc:sldChg chg="addSp delSp modSp new mod modAnim chgLayout modNotesTx">
        <pc:chgData name="Bart Vries" userId="e5e551dc-3d5a-4eff-8a2a-34ac7bf2fa92" providerId="ADAL" clId="{C227C9AB-61F9-4C7A-945B-75B8AE36D068}" dt="2024-12-17T15:13:46.305" v="2559" actId="20577"/>
        <pc:sldMkLst>
          <pc:docMk/>
          <pc:sldMk cId="4149091089" sldId="396"/>
        </pc:sldMkLst>
        <pc:spChg chg="del mod ord">
          <ac:chgData name="Bart Vries" userId="e5e551dc-3d5a-4eff-8a2a-34ac7bf2fa92" providerId="ADAL" clId="{C227C9AB-61F9-4C7A-945B-75B8AE36D068}" dt="2024-12-06T11:06:18.379" v="1" actId="700"/>
          <ac:spMkLst>
            <pc:docMk/>
            <pc:sldMk cId="4149091089" sldId="396"/>
            <ac:spMk id="2" creationId="{BCE07EEF-D89D-A1B9-A978-5D4992D23368}"/>
          </ac:spMkLst>
        </pc:spChg>
        <pc:spChg chg="add mod ord">
          <ac:chgData name="Bart Vries" userId="e5e551dc-3d5a-4eff-8a2a-34ac7bf2fa92" providerId="ADAL" clId="{C227C9AB-61F9-4C7A-945B-75B8AE36D068}" dt="2024-12-17T12:12:49.446" v="1928" actId="20577"/>
          <ac:spMkLst>
            <pc:docMk/>
            <pc:sldMk cId="4149091089" sldId="396"/>
            <ac:spMk id="3" creationId="{C6C5EE05-CD02-C139-F243-3F8AA208EC12}"/>
          </ac:spMkLst>
        </pc:spChg>
        <pc:spChg chg="add mod ord">
          <ac:chgData name="Bart Vries" userId="e5e551dc-3d5a-4eff-8a2a-34ac7bf2fa92" providerId="ADAL" clId="{C227C9AB-61F9-4C7A-945B-75B8AE36D068}" dt="2024-12-17T15:12:44.572" v="2492" actId="20577"/>
          <ac:spMkLst>
            <pc:docMk/>
            <pc:sldMk cId="4149091089" sldId="396"/>
            <ac:spMk id="4" creationId="{B20CCDEA-E521-4E65-944F-F421B9306171}"/>
          </ac:spMkLst>
        </pc:spChg>
        <pc:spChg chg="add del mod">
          <ac:chgData name="Bart Vries" userId="e5e551dc-3d5a-4eff-8a2a-34ac7bf2fa92" providerId="ADAL" clId="{C227C9AB-61F9-4C7A-945B-75B8AE36D068}" dt="2024-12-17T12:40:09.897" v="2008" actId="478"/>
          <ac:spMkLst>
            <pc:docMk/>
            <pc:sldMk cId="4149091089" sldId="396"/>
            <ac:spMk id="6" creationId="{5A762A06-4F4D-1D21-4326-CAD1153D62C3}"/>
          </ac:spMkLst>
        </pc:spChg>
        <pc:spChg chg="add mod">
          <ac:chgData name="Bart Vries" userId="e5e551dc-3d5a-4eff-8a2a-34ac7bf2fa92" providerId="ADAL" clId="{C227C9AB-61F9-4C7A-945B-75B8AE36D068}" dt="2024-12-17T12:44:32.641" v="2028" actId="1076"/>
          <ac:spMkLst>
            <pc:docMk/>
            <pc:sldMk cId="4149091089" sldId="396"/>
            <ac:spMk id="9" creationId="{C1444D7A-AA3D-43C0-A583-C089FFEA747F}"/>
          </ac:spMkLst>
        </pc:spChg>
        <pc:picChg chg="add del mod">
          <ac:chgData name="Bart Vries" userId="e5e551dc-3d5a-4eff-8a2a-34ac7bf2fa92" providerId="ADAL" clId="{C227C9AB-61F9-4C7A-945B-75B8AE36D068}" dt="2024-12-17T12:13:39.693" v="1999" actId="478"/>
          <ac:picMkLst>
            <pc:docMk/>
            <pc:sldMk cId="4149091089" sldId="396"/>
            <ac:picMk id="5" creationId="{9A64CCD8-B2CC-983F-A15C-92DCBF2833CC}"/>
          </ac:picMkLst>
        </pc:picChg>
        <pc:picChg chg="add mod">
          <ac:chgData name="Bart Vries" userId="e5e551dc-3d5a-4eff-8a2a-34ac7bf2fa92" providerId="ADAL" clId="{C227C9AB-61F9-4C7A-945B-75B8AE36D068}" dt="2024-12-17T15:12:32.205" v="2471" actId="1076"/>
          <ac:picMkLst>
            <pc:docMk/>
            <pc:sldMk cId="4149091089" sldId="396"/>
            <ac:picMk id="8" creationId="{70D58FB3-CCDA-CF3C-2D1E-33D1952340C3}"/>
          </ac:picMkLst>
        </pc:picChg>
      </pc:sldChg>
      <pc:sldChg chg="addSp modSp add mod">
        <pc:chgData name="Bart Vries" userId="e5e551dc-3d5a-4eff-8a2a-34ac7bf2fa92" providerId="ADAL" clId="{C227C9AB-61F9-4C7A-945B-75B8AE36D068}" dt="2024-12-17T16:46:04.699" v="3444" actId="20577"/>
        <pc:sldMkLst>
          <pc:docMk/>
          <pc:sldMk cId="1871125808" sldId="397"/>
        </pc:sldMkLst>
        <pc:spChg chg="add">
          <ac:chgData name="Bart Vries" userId="e5e551dc-3d5a-4eff-8a2a-34ac7bf2fa92" providerId="ADAL" clId="{C227C9AB-61F9-4C7A-945B-75B8AE36D068}" dt="2024-12-06T11:52:05.943" v="329"/>
          <ac:spMkLst>
            <pc:docMk/>
            <pc:sldMk cId="1871125808" sldId="397"/>
            <ac:spMk id="2" creationId="{0FDC44B7-EE96-D325-729C-1FC271C552D1}"/>
          </ac:spMkLst>
        </pc:spChg>
        <pc:spChg chg="mod">
          <ac:chgData name="Bart Vries" userId="e5e551dc-3d5a-4eff-8a2a-34ac7bf2fa92" providerId="ADAL" clId="{C227C9AB-61F9-4C7A-945B-75B8AE36D068}" dt="2024-12-17T16:45:04.627" v="3311" actId="20577"/>
          <ac:spMkLst>
            <pc:docMk/>
            <pc:sldMk cId="1871125808" sldId="397"/>
            <ac:spMk id="3" creationId="{C6C5EE05-CD02-C139-F243-3F8AA208EC12}"/>
          </ac:spMkLst>
        </pc:spChg>
        <pc:spChg chg="mod">
          <ac:chgData name="Bart Vries" userId="e5e551dc-3d5a-4eff-8a2a-34ac7bf2fa92" providerId="ADAL" clId="{C227C9AB-61F9-4C7A-945B-75B8AE36D068}" dt="2024-12-17T16:46:04.699" v="3444" actId="20577"/>
          <ac:spMkLst>
            <pc:docMk/>
            <pc:sldMk cId="1871125808" sldId="397"/>
            <ac:spMk id="4" creationId="{B20CCDEA-E521-4E65-944F-F421B9306171}"/>
          </ac:spMkLst>
        </pc:spChg>
      </pc:sldChg>
      <pc:sldChg chg="modSp add del mod">
        <pc:chgData name="Bart Vries" userId="e5e551dc-3d5a-4eff-8a2a-34ac7bf2fa92" providerId="ADAL" clId="{C227C9AB-61F9-4C7A-945B-75B8AE36D068}" dt="2024-12-17T16:09:13.843" v="3187" actId="47"/>
        <pc:sldMkLst>
          <pc:docMk/>
          <pc:sldMk cId="1132936522" sldId="398"/>
        </pc:sldMkLst>
        <pc:spChg chg="mod">
          <ac:chgData name="Bart Vries" userId="e5e551dc-3d5a-4eff-8a2a-34ac7bf2fa92" providerId="ADAL" clId="{C227C9AB-61F9-4C7A-945B-75B8AE36D068}" dt="2024-12-06T15:11:20.409" v="364"/>
          <ac:spMkLst>
            <pc:docMk/>
            <pc:sldMk cId="1132936522" sldId="398"/>
            <ac:spMk id="3" creationId="{C6C5EE05-CD02-C139-F243-3F8AA208EC12}"/>
          </ac:spMkLst>
        </pc:spChg>
        <pc:spChg chg="mod">
          <ac:chgData name="Bart Vries" userId="e5e551dc-3d5a-4eff-8a2a-34ac7bf2fa92" providerId="ADAL" clId="{C227C9AB-61F9-4C7A-945B-75B8AE36D068}" dt="2024-12-06T15:11:48.324" v="423" actId="313"/>
          <ac:spMkLst>
            <pc:docMk/>
            <pc:sldMk cId="1132936522" sldId="398"/>
            <ac:spMk id="4" creationId="{B20CCDEA-E521-4E65-944F-F421B9306171}"/>
          </ac:spMkLst>
        </pc:spChg>
      </pc:sldChg>
      <pc:sldChg chg="addSp modSp add mod modNotesTx">
        <pc:chgData name="Bart Vries" userId="e5e551dc-3d5a-4eff-8a2a-34ac7bf2fa92" providerId="ADAL" clId="{C227C9AB-61F9-4C7A-945B-75B8AE36D068}" dt="2024-12-18T15:45:08.674" v="6654"/>
        <pc:sldMkLst>
          <pc:docMk/>
          <pc:sldMk cId="2492935773" sldId="399"/>
        </pc:sldMkLst>
        <pc:spChg chg="mod">
          <ac:chgData name="Bart Vries" userId="e5e551dc-3d5a-4eff-8a2a-34ac7bf2fa92" providerId="ADAL" clId="{C227C9AB-61F9-4C7A-945B-75B8AE36D068}" dt="2024-12-17T12:45:18.226" v="2064" actId="20577"/>
          <ac:spMkLst>
            <pc:docMk/>
            <pc:sldMk cId="2492935773" sldId="399"/>
            <ac:spMk id="3" creationId="{C6C5EE05-CD02-C139-F243-3F8AA208EC12}"/>
          </ac:spMkLst>
        </pc:spChg>
        <pc:spChg chg="mod">
          <ac:chgData name="Bart Vries" userId="e5e551dc-3d5a-4eff-8a2a-34ac7bf2fa92" providerId="ADAL" clId="{C227C9AB-61F9-4C7A-945B-75B8AE36D068}" dt="2024-12-17T12:46:20.564" v="2141" actId="20577"/>
          <ac:spMkLst>
            <pc:docMk/>
            <pc:sldMk cId="2492935773" sldId="399"/>
            <ac:spMk id="4" creationId="{B20CCDEA-E521-4E65-944F-F421B9306171}"/>
          </ac:spMkLst>
        </pc:spChg>
        <pc:picChg chg="add mod">
          <ac:chgData name="Bart Vries" userId="e5e551dc-3d5a-4eff-8a2a-34ac7bf2fa92" providerId="ADAL" clId="{C227C9AB-61F9-4C7A-945B-75B8AE36D068}" dt="2024-12-18T15:45:08.674" v="6654"/>
          <ac:picMkLst>
            <pc:docMk/>
            <pc:sldMk cId="2492935773" sldId="399"/>
            <ac:picMk id="2" creationId="{BD5EF1E3-87DE-927F-7015-14C3D7803CA2}"/>
          </ac:picMkLst>
        </pc:picChg>
      </pc:sldChg>
      <pc:sldChg chg="modSp new mod">
        <pc:chgData name="Bart Vries" userId="e5e551dc-3d5a-4eff-8a2a-34ac7bf2fa92" providerId="ADAL" clId="{C227C9AB-61F9-4C7A-945B-75B8AE36D068}" dt="2024-12-11T08:52:03.143" v="1173" actId="20577"/>
        <pc:sldMkLst>
          <pc:docMk/>
          <pc:sldMk cId="1919522209" sldId="400"/>
        </pc:sldMkLst>
        <pc:spChg chg="mod">
          <ac:chgData name="Bart Vries" userId="e5e551dc-3d5a-4eff-8a2a-34ac7bf2fa92" providerId="ADAL" clId="{C227C9AB-61F9-4C7A-945B-75B8AE36D068}" dt="2024-12-11T08:52:03.143" v="1173" actId="20577"/>
          <ac:spMkLst>
            <pc:docMk/>
            <pc:sldMk cId="1919522209" sldId="400"/>
            <ac:spMk id="2" creationId="{937937BA-E4C6-3ADE-F762-8DB900AF0A0E}"/>
          </ac:spMkLst>
        </pc:spChg>
      </pc:sldChg>
      <pc:sldChg chg="addSp delSp modSp new del mod modClrScheme chgLayout">
        <pc:chgData name="Bart Vries" userId="e5e551dc-3d5a-4eff-8a2a-34ac7bf2fa92" providerId="ADAL" clId="{C227C9AB-61F9-4C7A-945B-75B8AE36D068}" dt="2024-12-11T08:35:54.180" v="725" actId="47"/>
        <pc:sldMkLst>
          <pc:docMk/>
          <pc:sldMk cId="2269046892" sldId="400"/>
        </pc:sldMkLst>
        <pc:spChg chg="del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2" creationId="{A9C98D1B-00FC-EFA0-8889-5FB80AB269B2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3" creationId="{1370E19B-AD5B-2410-B96D-457837BE3A94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4" creationId="{2D8D4B28-4AA1-D9A1-5A1E-04B6F3B94B95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5" creationId="{17AB96A1-C9B3-60E8-CD9A-EEF0733693E6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6" creationId="{4D6F15B4-7DE9-27D4-851A-036DC2F7E55C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7" creationId="{58DBA299-D842-4674-1FAC-02E990768848}"/>
          </ac:spMkLst>
        </pc:spChg>
      </pc:sldChg>
      <pc:sldChg chg="addSp delSp modSp new mod modClrScheme chgLayout modNotesTx">
        <pc:chgData name="Bart Vries" userId="e5e551dc-3d5a-4eff-8a2a-34ac7bf2fa92" providerId="ADAL" clId="{C227C9AB-61F9-4C7A-945B-75B8AE36D068}" dt="2024-12-11T08:47:55.686" v="1064" actId="20577"/>
        <pc:sldMkLst>
          <pc:docMk/>
          <pc:sldMk cId="507860871" sldId="401"/>
        </pc:sldMkLst>
        <pc:spChg chg="del mod ord">
          <ac:chgData name="Bart Vries" userId="e5e551dc-3d5a-4eff-8a2a-34ac7bf2fa92" providerId="ADAL" clId="{C227C9AB-61F9-4C7A-945B-75B8AE36D068}" dt="2024-12-11T08:39:15.544" v="781" actId="700"/>
          <ac:spMkLst>
            <pc:docMk/>
            <pc:sldMk cId="507860871" sldId="401"/>
            <ac:spMk id="2" creationId="{9B13A2B7-706E-8BD5-B148-54BC7D530383}"/>
          </ac:spMkLst>
        </pc:spChg>
        <pc:spChg chg="add mod ord">
          <ac:chgData name="Bart Vries" userId="e5e551dc-3d5a-4eff-8a2a-34ac7bf2fa92" providerId="ADAL" clId="{C227C9AB-61F9-4C7A-945B-75B8AE36D068}" dt="2024-12-11T08:44:21.746" v="908" actId="20577"/>
          <ac:spMkLst>
            <pc:docMk/>
            <pc:sldMk cId="507860871" sldId="401"/>
            <ac:spMk id="3" creationId="{B0F89012-78C2-F3C8-4E20-24B1AEFC16BC}"/>
          </ac:spMkLst>
        </pc:spChg>
        <pc:spChg chg="add del mod ord">
          <ac:chgData name="Bart Vries" userId="e5e551dc-3d5a-4eff-8a2a-34ac7bf2fa92" providerId="ADAL" clId="{C227C9AB-61F9-4C7A-945B-75B8AE36D068}" dt="2024-12-11T08:39:18.607" v="782" actId="931"/>
          <ac:spMkLst>
            <pc:docMk/>
            <pc:sldMk cId="507860871" sldId="401"/>
            <ac:spMk id="4" creationId="{DAC7FD3C-8BA0-F1CE-C889-F8036CAABD6F}"/>
          </ac:spMkLst>
        </pc:spChg>
        <pc:picChg chg="add mod">
          <ac:chgData name="Bart Vries" userId="e5e551dc-3d5a-4eff-8a2a-34ac7bf2fa92" providerId="ADAL" clId="{C227C9AB-61F9-4C7A-945B-75B8AE36D068}" dt="2024-12-11T08:39:20.397" v="784" actId="962"/>
          <ac:picMkLst>
            <pc:docMk/>
            <pc:sldMk cId="507860871" sldId="401"/>
            <ac:picMk id="6" creationId="{119B5D23-7738-E8CD-05BF-5809457BBE96}"/>
          </ac:picMkLst>
        </pc:picChg>
      </pc:sldChg>
      <pc:sldChg chg="addSp delSp modSp new del mod modClrScheme chgLayout">
        <pc:chgData name="Bart Vries" userId="e5e551dc-3d5a-4eff-8a2a-34ac7bf2fa92" providerId="ADAL" clId="{C227C9AB-61F9-4C7A-945B-75B8AE36D068}" dt="2024-12-11T08:39:08.596" v="779" actId="47"/>
        <pc:sldMkLst>
          <pc:docMk/>
          <pc:sldMk cId="1292682847" sldId="401"/>
        </pc:sldMkLst>
        <pc:spChg chg="add del mod ord">
          <ac:chgData name="Bart Vries" userId="e5e551dc-3d5a-4eff-8a2a-34ac7bf2fa92" providerId="ADAL" clId="{C227C9AB-61F9-4C7A-945B-75B8AE36D068}" dt="2024-12-11T08:39:06.195" v="778" actId="700"/>
          <ac:spMkLst>
            <pc:docMk/>
            <pc:sldMk cId="1292682847" sldId="401"/>
            <ac:spMk id="2" creationId="{1D55BE58-0CE3-6DDE-5E08-7FAF920ACA49}"/>
          </ac:spMkLst>
        </pc:spChg>
        <pc:spChg chg="add del mod ord">
          <ac:chgData name="Bart Vries" userId="e5e551dc-3d5a-4eff-8a2a-34ac7bf2fa92" providerId="ADAL" clId="{C227C9AB-61F9-4C7A-945B-75B8AE36D068}" dt="2024-12-11T08:39:06.195" v="778" actId="700"/>
          <ac:spMkLst>
            <pc:docMk/>
            <pc:sldMk cId="1292682847" sldId="401"/>
            <ac:spMk id="3" creationId="{556FEB2D-32C0-F649-DDDB-82B6F657EA93}"/>
          </ac:spMkLst>
        </pc:spChg>
        <pc:spChg chg="add del mod ord">
          <ac:chgData name="Bart Vries" userId="e5e551dc-3d5a-4eff-8a2a-34ac7bf2fa92" providerId="ADAL" clId="{C227C9AB-61F9-4C7A-945B-75B8AE36D068}" dt="2024-12-11T08:39:06.195" v="778" actId="700"/>
          <ac:spMkLst>
            <pc:docMk/>
            <pc:sldMk cId="1292682847" sldId="401"/>
            <ac:spMk id="4" creationId="{14E30328-5732-9E16-0101-B2DB92B2187B}"/>
          </ac:spMkLst>
        </pc:spChg>
        <pc:picChg chg="add mod">
          <ac:chgData name="Bart Vries" userId="e5e551dc-3d5a-4eff-8a2a-34ac7bf2fa92" providerId="ADAL" clId="{C227C9AB-61F9-4C7A-945B-75B8AE36D068}" dt="2024-12-11T08:39:05.739" v="777" actId="931"/>
          <ac:picMkLst>
            <pc:docMk/>
            <pc:sldMk cId="1292682847" sldId="401"/>
            <ac:picMk id="6" creationId="{D1DD1622-6FB9-0822-2F98-C299D0E3F209}"/>
          </ac:picMkLst>
        </pc:picChg>
      </pc:sldChg>
      <pc:sldChg chg="addSp delSp modSp new del mod modClrScheme chgLayout">
        <pc:chgData name="Bart Vries" userId="e5e551dc-3d5a-4eff-8a2a-34ac7bf2fa92" providerId="ADAL" clId="{C227C9AB-61F9-4C7A-945B-75B8AE36D068}" dt="2024-12-11T08:38:17.419" v="769" actId="47"/>
        <pc:sldMkLst>
          <pc:docMk/>
          <pc:sldMk cId="3222347505" sldId="401"/>
        </pc:sldMkLst>
        <pc:spChg chg="del mod ord">
          <ac:chgData name="Bart Vries" userId="e5e551dc-3d5a-4eff-8a2a-34ac7bf2fa92" providerId="ADAL" clId="{C227C9AB-61F9-4C7A-945B-75B8AE36D068}" dt="2024-12-11T08:36:40.755" v="767" actId="700"/>
          <ac:spMkLst>
            <pc:docMk/>
            <pc:sldMk cId="3222347505" sldId="401"/>
            <ac:spMk id="2" creationId="{C654D342-E903-2E6A-4812-903A95188D39}"/>
          </ac:spMkLst>
        </pc:spChg>
        <pc:spChg chg="add del mod ord">
          <ac:chgData name="Bart Vries" userId="e5e551dc-3d5a-4eff-8a2a-34ac7bf2fa92" providerId="ADAL" clId="{C227C9AB-61F9-4C7A-945B-75B8AE36D068}" dt="2024-12-11T08:38:12.457" v="768" actId="931"/>
          <ac:spMkLst>
            <pc:docMk/>
            <pc:sldMk cId="3222347505" sldId="401"/>
            <ac:spMk id="3" creationId="{32ED830D-BA56-17C3-9380-22E42369364E}"/>
          </ac:spMkLst>
        </pc:spChg>
        <pc:spChg chg="add mod ord">
          <ac:chgData name="Bart Vries" userId="e5e551dc-3d5a-4eff-8a2a-34ac7bf2fa92" providerId="ADAL" clId="{C227C9AB-61F9-4C7A-945B-75B8AE36D068}" dt="2024-12-11T08:36:40.755" v="767" actId="700"/>
          <ac:spMkLst>
            <pc:docMk/>
            <pc:sldMk cId="3222347505" sldId="401"/>
            <ac:spMk id="4" creationId="{9A7D4DEB-B59C-E779-FBCB-302EAF2E2A48}"/>
          </ac:spMkLst>
        </pc:spChg>
        <pc:picChg chg="add mod">
          <ac:chgData name="Bart Vries" userId="e5e551dc-3d5a-4eff-8a2a-34ac7bf2fa92" providerId="ADAL" clId="{C227C9AB-61F9-4C7A-945B-75B8AE36D068}" dt="2024-12-11T08:38:12.457" v="768" actId="931"/>
          <ac:picMkLst>
            <pc:docMk/>
            <pc:sldMk cId="3222347505" sldId="401"/>
            <ac:picMk id="6" creationId="{B3E30821-CDDA-DADB-4A71-14270DA8F533}"/>
          </ac:picMkLst>
        </pc:picChg>
      </pc:sldChg>
      <pc:sldChg chg="addSp delSp modSp new mod modClrScheme chgLayout modNotesTx">
        <pc:chgData name="Bart Vries" userId="e5e551dc-3d5a-4eff-8a2a-34ac7bf2fa92" providerId="ADAL" clId="{C227C9AB-61F9-4C7A-945B-75B8AE36D068}" dt="2024-12-17T12:13:30.791" v="1998" actId="20577"/>
        <pc:sldMkLst>
          <pc:docMk/>
          <pc:sldMk cId="4189257172" sldId="402"/>
        </pc:sldMkLst>
        <pc:spChg chg="del mod ord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2" creationId="{64F1C30D-67AA-8B8A-C97E-095A3A8978E6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3" creationId="{FF3362B2-C980-D6C8-7075-ACF4B3200BAD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4" creationId="{4BBADBF2-9179-9BD6-E24D-08A6F4D9DFB8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5" creationId="{4EA3F503-F602-A935-DB12-66E55BD97DC6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6" creationId="{BD3C41BE-1793-19E6-BFE7-84D11B4365F8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7" creationId="{13A5A00F-A18B-6B71-E999-4C3890B39DB4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8" creationId="{8EECACEB-C909-2274-85CC-8BAB3A48415A}"/>
          </ac:spMkLst>
        </pc:spChg>
        <pc:spChg chg="add mod ord">
          <ac:chgData name="Bart Vries" userId="e5e551dc-3d5a-4eff-8a2a-34ac7bf2fa92" providerId="ADAL" clId="{C227C9AB-61F9-4C7A-945B-75B8AE36D068}" dt="2024-12-17T11:20:35.053" v="1607" actId="20577"/>
          <ac:spMkLst>
            <pc:docMk/>
            <pc:sldMk cId="4189257172" sldId="402"/>
            <ac:spMk id="9" creationId="{8A4FA9E6-F1EF-80F0-23A1-13AEB79AB870}"/>
          </ac:spMkLst>
        </pc:spChg>
        <pc:spChg chg="add mod ord">
          <ac:chgData name="Bart Vries" userId="e5e551dc-3d5a-4eff-8a2a-34ac7bf2fa92" providerId="ADAL" clId="{C227C9AB-61F9-4C7A-945B-75B8AE36D068}" dt="2024-12-16T12:43:48.416" v="1583" actId="5793"/>
          <ac:spMkLst>
            <pc:docMk/>
            <pc:sldMk cId="4189257172" sldId="402"/>
            <ac:spMk id="10" creationId="{F0840301-51A7-00E6-D434-078834FB3D29}"/>
          </ac:spMkLst>
        </pc:spChg>
        <pc:picChg chg="add del mod">
          <ac:chgData name="Bart Vries" userId="e5e551dc-3d5a-4eff-8a2a-34ac7bf2fa92" providerId="ADAL" clId="{C227C9AB-61F9-4C7A-945B-75B8AE36D068}" dt="2024-12-17T11:24:50.492" v="1608" actId="478"/>
          <ac:picMkLst>
            <pc:docMk/>
            <pc:sldMk cId="4189257172" sldId="402"/>
            <ac:picMk id="3" creationId="{41F603EC-BF92-0E3D-F067-AD41FB0BAB60}"/>
          </ac:picMkLst>
        </pc:picChg>
        <pc:picChg chg="add del mod">
          <ac:chgData name="Bart Vries" userId="e5e551dc-3d5a-4eff-8a2a-34ac7bf2fa92" providerId="ADAL" clId="{C227C9AB-61F9-4C7A-945B-75B8AE36D068}" dt="2024-12-17T11:36:37.144" v="1795" actId="478"/>
          <ac:picMkLst>
            <pc:docMk/>
            <pc:sldMk cId="4189257172" sldId="402"/>
            <ac:picMk id="5" creationId="{D91A28CF-ED2A-986A-BC94-4750FDE9AFD2}"/>
          </ac:picMkLst>
        </pc:picChg>
        <pc:picChg chg="add del mod">
          <ac:chgData name="Bart Vries" userId="e5e551dc-3d5a-4eff-8a2a-34ac7bf2fa92" providerId="ADAL" clId="{C227C9AB-61F9-4C7A-945B-75B8AE36D068}" dt="2024-12-17T11:39:24.293" v="1799" actId="478"/>
          <ac:picMkLst>
            <pc:docMk/>
            <pc:sldMk cId="4189257172" sldId="402"/>
            <ac:picMk id="7" creationId="{F26598E9-22F3-6D87-37D1-43DEAF78AE81}"/>
          </ac:picMkLst>
        </pc:picChg>
        <pc:picChg chg="add del mod">
          <ac:chgData name="Bart Vries" userId="e5e551dc-3d5a-4eff-8a2a-34ac7bf2fa92" providerId="ADAL" clId="{C227C9AB-61F9-4C7A-945B-75B8AE36D068}" dt="2024-12-17T11:55:03.463" v="1889" actId="478"/>
          <ac:picMkLst>
            <pc:docMk/>
            <pc:sldMk cId="4189257172" sldId="402"/>
            <ac:picMk id="11" creationId="{3BD04D3F-519C-0235-7DF6-A66F8AF70513}"/>
          </ac:picMkLst>
        </pc:picChg>
        <pc:picChg chg="add del mod">
          <ac:chgData name="Bart Vries" userId="e5e551dc-3d5a-4eff-8a2a-34ac7bf2fa92" providerId="ADAL" clId="{C227C9AB-61F9-4C7A-945B-75B8AE36D068}" dt="2024-12-17T11:19:51.477" v="1592" actId="478"/>
          <ac:picMkLst>
            <pc:docMk/>
            <pc:sldMk cId="4189257172" sldId="402"/>
            <ac:picMk id="12" creationId="{8EB786B2-BABC-C016-5A3C-C913104E342A}"/>
          </ac:picMkLst>
        </pc:picChg>
        <pc:picChg chg="add mod">
          <ac:chgData name="Bart Vries" userId="e5e551dc-3d5a-4eff-8a2a-34ac7bf2fa92" providerId="ADAL" clId="{C227C9AB-61F9-4C7A-945B-75B8AE36D068}" dt="2024-12-17T11:55:23.109" v="1892" actId="14100"/>
          <ac:picMkLst>
            <pc:docMk/>
            <pc:sldMk cId="4189257172" sldId="402"/>
            <ac:picMk id="14" creationId="{8F985459-885B-106D-669E-CAD37A731197}"/>
          </ac:picMkLst>
        </pc:picChg>
      </pc:sldChg>
      <pc:sldChg chg="modSp add mod">
        <pc:chgData name="Bart Vries" userId="e5e551dc-3d5a-4eff-8a2a-34ac7bf2fa92" providerId="ADAL" clId="{C227C9AB-61F9-4C7A-945B-75B8AE36D068}" dt="2024-12-17T11:34:52.306" v="1794"/>
        <pc:sldMkLst>
          <pc:docMk/>
          <pc:sldMk cId="275312114" sldId="403"/>
        </pc:sldMkLst>
        <pc:spChg chg="mod">
          <ac:chgData name="Bart Vries" userId="e5e551dc-3d5a-4eff-8a2a-34ac7bf2fa92" providerId="ADAL" clId="{C227C9AB-61F9-4C7A-945B-75B8AE36D068}" dt="2024-12-17T11:31:17.845" v="1656" actId="20577"/>
          <ac:spMkLst>
            <pc:docMk/>
            <pc:sldMk cId="275312114" sldId="403"/>
            <ac:spMk id="3" creationId="{056D0506-1039-E9F4-B88E-106F92A5EF54}"/>
          </ac:spMkLst>
        </pc:spChg>
        <pc:spChg chg="mod">
          <ac:chgData name="Bart Vries" userId="e5e551dc-3d5a-4eff-8a2a-34ac7bf2fa92" providerId="ADAL" clId="{C227C9AB-61F9-4C7A-945B-75B8AE36D068}" dt="2024-12-17T11:34:52.306" v="1794"/>
          <ac:spMkLst>
            <pc:docMk/>
            <pc:sldMk cId="275312114" sldId="403"/>
            <ac:spMk id="4" creationId="{ADAEA6C8-B322-0960-595F-60C9EE5932BA}"/>
          </ac:spMkLst>
        </pc:spChg>
      </pc:sldChg>
      <pc:sldChg chg="addSp delSp modSp add mod modNotesTx">
        <pc:chgData name="Bart Vries" userId="e5e551dc-3d5a-4eff-8a2a-34ac7bf2fa92" providerId="ADAL" clId="{C227C9AB-61F9-4C7A-945B-75B8AE36D068}" dt="2024-12-17T12:43:44.692" v="2013" actId="14100"/>
        <pc:sldMkLst>
          <pc:docMk/>
          <pc:sldMk cId="4184224460" sldId="404"/>
        </pc:sldMkLst>
        <pc:spChg chg="mod">
          <ac:chgData name="Bart Vries" userId="e5e551dc-3d5a-4eff-8a2a-34ac7bf2fa92" providerId="ADAL" clId="{C227C9AB-61F9-4C7A-945B-75B8AE36D068}" dt="2024-12-17T11:42:02.438" v="1816" actId="20577"/>
          <ac:spMkLst>
            <pc:docMk/>
            <pc:sldMk cId="4184224460" sldId="404"/>
            <ac:spMk id="9" creationId="{2983A19A-5775-7346-A4CB-7F2AC21B44E1}"/>
          </ac:spMkLst>
        </pc:spChg>
        <pc:picChg chg="add del mod">
          <ac:chgData name="Bart Vries" userId="e5e551dc-3d5a-4eff-8a2a-34ac7bf2fa92" providerId="ADAL" clId="{C227C9AB-61F9-4C7A-945B-75B8AE36D068}" dt="2024-12-17T12:43:26.375" v="2010" actId="478"/>
          <ac:picMkLst>
            <pc:docMk/>
            <pc:sldMk cId="4184224460" sldId="404"/>
            <ac:picMk id="3" creationId="{D8C5CF0E-4306-233D-38DD-53BB2974EBF2}"/>
          </ac:picMkLst>
        </pc:picChg>
        <pc:picChg chg="add mod">
          <ac:chgData name="Bart Vries" userId="e5e551dc-3d5a-4eff-8a2a-34ac7bf2fa92" providerId="ADAL" clId="{C227C9AB-61F9-4C7A-945B-75B8AE36D068}" dt="2024-12-17T12:43:44.692" v="2013" actId="14100"/>
          <ac:picMkLst>
            <pc:docMk/>
            <pc:sldMk cId="4184224460" sldId="404"/>
            <ac:picMk id="5" creationId="{6A450D74-E4EC-742D-EE62-915CBC0B0AE0}"/>
          </ac:picMkLst>
        </pc:picChg>
        <pc:picChg chg="del">
          <ac:chgData name="Bart Vries" userId="e5e551dc-3d5a-4eff-8a2a-34ac7bf2fa92" providerId="ADAL" clId="{C227C9AB-61F9-4C7A-945B-75B8AE36D068}" dt="2024-12-17T11:42:04.894" v="1817" actId="478"/>
          <ac:picMkLst>
            <pc:docMk/>
            <pc:sldMk cId="4184224460" sldId="404"/>
            <ac:picMk id="11" creationId="{5B11027F-D9AE-B18A-AD90-FF818F52E978}"/>
          </ac:picMkLst>
        </pc:picChg>
      </pc:sldChg>
      <pc:sldChg chg="addSp modSp new del mod modShow">
        <pc:chgData name="Bart Vries" userId="e5e551dc-3d5a-4eff-8a2a-34ac7bf2fa92" providerId="ADAL" clId="{C227C9AB-61F9-4C7A-945B-75B8AE36D068}" dt="2024-12-17T15:52:08.398" v="3185" actId="47"/>
        <pc:sldMkLst>
          <pc:docMk/>
          <pc:sldMk cId="834214783" sldId="405"/>
        </pc:sldMkLst>
        <pc:spChg chg="mod">
          <ac:chgData name="Bart Vries" userId="e5e551dc-3d5a-4eff-8a2a-34ac7bf2fa92" providerId="ADAL" clId="{C227C9AB-61F9-4C7A-945B-75B8AE36D068}" dt="2024-12-17T15:10:46.402" v="2447" actId="5793"/>
          <ac:spMkLst>
            <pc:docMk/>
            <pc:sldMk cId="834214783" sldId="405"/>
            <ac:spMk id="2" creationId="{10C0215F-B1D1-F58F-8DD5-33844BE79EC9}"/>
          </ac:spMkLst>
        </pc:spChg>
        <pc:spChg chg="mod">
          <ac:chgData name="Bart Vries" userId="e5e551dc-3d5a-4eff-8a2a-34ac7bf2fa92" providerId="ADAL" clId="{C227C9AB-61F9-4C7A-945B-75B8AE36D068}" dt="2024-12-17T15:10:51.305" v="2452" actId="20577"/>
          <ac:spMkLst>
            <pc:docMk/>
            <pc:sldMk cId="834214783" sldId="405"/>
            <ac:spMk id="3" creationId="{52DD8B1C-A735-6A35-7D66-41DA5D3B8EE6}"/>
          </ac:spMkLst>
        </pc:spChg>
        <pc:picChg chg="add mod">
          <ac:chgData name="Bart Vries" userId="e5e551dc-3d5a-4eff-8a2a-34ac7bf2fa92" providerId="ADAL" clId="{C227C9AB-61F9-4C7A-945B-75B8AE36D068}" dt="2024-12-17T15:10:48.550" v="2448" actId="1076"/>
          <ac:picMkLst>
            <pc:docMk/>
            <pc:sldMk cId="834214783" sldId="405"/>
            <ac:picMk id="5" creationId="{92E7D59B-7993-62D0-7494-7A2278662C12}"/>
          </ac:picMkLst>
        </pc:picChg>
      </pc:sldChg>
      <pc:sldChg chg="addSp delSp modSp new add del mod modClrScheme chgLayout">
        <pc:chgData name="Bart Vries" userId="e5e551dc-3d5a-4eff-8a2a-34ac7bf2fa92" providerId="ADAL" clId="{C227C9AB-61F9-4C7A-945B-75B8AE36D068}" dt="2024-12-18T09:45:48.277" v="4793" actId="47"/>
        <pc:sldMkLst>
          <pc:docMk/>
          <pc:sldMk cId="3349876799" sldId="406"/>
        </pc:sldMkLst>
        <pc:spChg chg="add del mod ord">
          <ac:chgData name="Bart Vries" userId="e5e551dc-3d5a-4eff-8a2a-34ac7bf2fa92" providerId="ADAL" clId="{C227C9AB-61F9-4C7A-945B-75B8AE36D068}" dt="2024-12-18T09:33:54.692" v="4059" actId="20577"/>
          <ac:spMkLst>
            <pc:docMk/>
            <pc:sldMk cId="3349876799" sldId="406"/>
            <ac:spMk id="2" creationId="{486E9BCA-E973-F269-9F26-59F8065E1AC9}"/>
          </ac:spMkLst>
        </pc:spChg>
        <pc:spChg chg="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3" creationId="{94DCA0B0-3297-6A8E-159A-B9652D003D98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4" creationId="{5A779CBF-BEC3-3B39-354B-2EAA9531B95E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5" creationId="{18C01CA4-CF0E-5DA5-579E-6DFB6BBAD38E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6" creationId="{C2FB2B5B-3A98-C4F5-FE1D-76AE06723D73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7" creationId="{97CCFDBD-3016-8959-4882-E1655801BAE9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8" creationId="{E66ED051-A84E-E75B-CCE2-F65FD15A9D07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9" creationId="{B4DAD3C8-D90A-1933-95B0-3568D5CA6C1E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0" creationId="{DED8F2BE-854E-1202-0866-A01BF59CBD38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1" creationId="{5B0799D8-31A7-AF31-A50E-9BB743AA3FED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2" creationId="{3E50ADF6-3B2D-F363-A8A0-BBEEF14D8228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3" creationId="{F5B28361-A7E8-2DCD-BA69-0766B3EC7A5B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4" creationId="{94A03549-980B-1387-1C61-338ACBAC9A47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5" creationId="{0AACB616-0E2A-A497-5548-C92390C570B8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6" creationId="{D7EC050A-7790-8ADE-A7D4-D9ABF91E050D}"/>
          </ac:spMkLst>
        </pc:spChg>
      </pc:sldChg>
      <pc:sldChg chg="modSp add del mod">
        <pc:chgData name="Bart Vries" userId="e5e551dc-3d5a-4eff-8a2a-34ac7bf2fa92" providerId="ADAL" clId="{C227C9AB-61F9-4C7A-945B-75B8AE36D068}" dt="2024-12-17T15:26:55.990" v="3080" actId="47"/>
        <pc:sldMkLst>
          <pc:docMk/>
          <pc:sldMk cId="558764672" sldId="407"/>
        </pc:sldMkLst>
        <pc:spChg chg="mod">
          <ac:chgData name="Bart Vries" userId="e5e551dc-3d5a-4eff-8a2a-34ac7bf2fa92" providerId="ADAL" clId="{C227C9AB-61F9-4C7A-945B-75B8AE36D068}" dt="2024-12-17T15:24:08.311" v="3037" actId="20577"/>
          <ac:spMkLst>
            <pc:docMk/>
            <pc:sldMk cId="558764672" sldId="407"/>
            <ac:spMk id="2" creationId="{86001A63-EB73-F858-B829-1A5859106D22}"/>
          </ac:spMkLst>
        </pc:spChg>
        <pc:spChg chg="mod">
          <ac:chgData name="Bart Vries" userId="e5e551dc-3d5a-4eff-8a2a-34ac7bf2fa92" providerId="ADAL" clId="{C227C9AB-61F9-4C7A-945B-75B8AE36D068}" dt="2024-12-17T15:24:02.035" v="3036" actId="20577"/>
          <ac:spMkLst>
            <pc:docMk/>
            <pc:sldMk cId="558764672" sldId="407"/>
            <ac:spMk id="3" creationId="{F4ADCCB4-4254-6011-7F77-99D10949775C}"/>
          </ac:spMkLst>
        </pc:spChg>
      </pc:sldChg>
      <pc:sldChg chg="modSp add del mod">
        <pc:chgData name="Bart Vries" userId="e5e551dc-3d5a-4eff-8a2a-34ac7bf2fa92" providerId="ADAL" clId="{C227C9AB-61F9-4C7A-945B-75B8AE36D068}" dt="2024-12-17T15:26:44.368" v="3076" actId="47"/>
        <pc:sldMkLst>
          <pc:docMk/>
          <pc:sldMk cId="4066892902" sldId="408"/>
        </pc:sldMkLst>
        <pc:spChg chg="mod">
          <ac:chgData name="Bart Vries" userId="e5e551dc-3d5a-4eff-8a2a-34ac7bf2fa92" providerId="ADAL" clId="{C227C9AB-61F9-4C7A-945B-75B8AE36D068}" dt="2024-12-17T15:25:20.907" v="3052" actId="20577"/>
          <ac:spMkLst>
            <pc:docMk/>
            <pc:sldMk cId="4066892902" sldId="408"/>
            <ac:spMk id="5" creationId="{79243E7B-8A0E-73C5-0769-DD85AE68D4A7}"/>
          </ac:spMkLst>
        </pc:spChg>
        <pc:spChg chg="mod">
          <ac:chgData name="Bart Vries" userId="e5e551dc-3d5a-4eff-8a2a-34ac7bf2fa92" providerId="ADAL" clId="{C227C9AB-61F9-4C7A-945B-75B8AE36D068}" dt="2024-12-17T15:25:35.899" v="3069" actId="20577"/>
          <ac:spMkLst>
            <pc:docMk/>
            <pc:sldMk cId="4066892902" sldId="408"/>
            <ac:spMk id="6" creationId="{7C5F7BE4-6A4F-94F7-A419-80754F272D93}"/>
          </ac:spMkLst>
        </pc:spChg>
      </pc:sldChg>
      <pc:sldChg chg="addSp modSp add mod">
        <pc:chgData name="Bart Vries" userId="e5e551dc-3d5a-4eff-8a2a-34ac7bf2fa92" providerId="ADAL" clId="{C227C9AB-61F9-4C7A-945B-75B8AE36D068}" dt="2024-12-18T12:52:39.604" v="5648" actId="20577"/>
        <pc:sldMkLst>
          <pc:docMk/>
          <pc:sldMk cId="39398852" sldId="409"/>
        </pc:sldMkLst>
        <pc:spChg chg="add 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2" creationId="{06E20A65-AD71-6854-8DD1-6640163F509F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3" creationId="{6E991DC5-B128-99AA-2012-4EFF85A30777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4" creationId="{DAB78E32-8244-E6FF-6320-09D639C03CF7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5" creationId="{FCA45AFB-3FE8-5C90-60F2-073E83D147C7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6" creationId="{7038B339-0353-FB82-647F-E6ACC99DD53F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7" creationId="{823DF53A-2D0A-4225-4E7E-1EBFE0D943EE}"/>
          </ac:spMkLst>
        </pc:spChg>
        <pc:spChg chg="mod">
          <ac:chgData name="Bart Vries" userId="e5e551dc-3d5a-4eff-8a2a-34ac7bf2fa92" providerId="ADAL" clId="{C227C9AB-61F9-4C7A-945B-75B8AE36D068}" dt="2024-12-18T12:52:31.439" v="5644" actId="20577"/>
          <ac:spMkLst>
            <pc:docMk/>
            <pc:sldMk cId="39398852" sldId="409"/>
            <ac:spMk id="8" creationId="{B5800ADF-B4B8-324B-F2DC-3E2E3D26CDD6}"/>
          </ac:spMkLst>
        </pc:spChg>
        <pc:spChg chg="mod">
          <ac:chgData name="Bart Vries" userId="e5e551dc-3d5a-4eff-8a2a-34ac7bf2fa92" providerId="ADAL" clId="{C227C9AB-61F9-4C7A-945B-75B8AE36D068}" dt="2024-12-18T12:52:39.604" v="5648" actId="20577"/>
          <ac:spMkLst>
            <pc:docMk/>
            <pc:sldMk cId="39398852" sldId="409"/>
            <ac:spMk id="9" creationId="{99FC4371-871F-3C6E-07E9-46C054DFA0F0}"/>
          </ac:spMkLst>
        </pc:spChg>
      </pc:sldChg>
      <pc:sldChg chg="modSp add del mod">
        <pc:chgData name="Bart Vries" userId="e5e551dc-3d5a-4eff-8a2a-34ac7bf2fa92" providerId="ADAL" clId="{C227C9AB-61F9-4C7A-945B-75B8AE36D068}" dt="2024-12-18T12:53:09.516" v="5651" actId="47"/>
        <pc:sldMkLst>
          <pc:docMk/>
          <pc:sldMk cId="855787567" sldId="410"/>
        </pc:sldMkLst>
        <pc:spChg chg="mod">
          <ac:chgData name="Bart Vries" userId="e5e551dc-3d5a-4eff-8a2a-34ac7bf2fa92" providerId="ADAL" clId="{C227C9AB-61F9-4C7A-945B-75B8AE36D068}" dt="2024-12-17T16:50:30.384" v="3568"/>
          <ac:spMkLst>
            <pc:docMk/>
            <pc:sldMk cId="855787567" sldId="410"/>
            <ac:spMk id="5" creationId="{CB60B962-8AC0-BD26-1C51-7A4EB1A4AD2F}"/>
          </ac:spMkLst>
        </pc:spChg>
        <pc:spChg chg="mod">
          <ac:chgData name="Bart Vries" userId="e5e551dc-3d5a-4eff-8a2a-34ac7bf2fa92" providerId="ADAL" clId="{C227C9AB-61F9-4C7A-945B-75B8AE36D068}" dt="2024-12-17T16:12:42.080" v="3268" actId="20577"/>
          <ac:spMkLst>
            <pc:docMk/>
            <pc:sldMk cId="855787567" sldId="410"/>
            <ac:spMk id="6" creationId="{A4FD28CC-AAA3-19E5-3A4B-C2DDA297C91B}"/>
          </ac:spMkLst>
        </pc:spChg>
        <pc:spChg chg="mod">
          <ac:chgData name="Bart Vries" userId="e5e551dc-3d5a-4eff-8a2a-34ac7bf2fa92" providerId="ADAL" clId="{C227C9AB-61F9-4C7A-945B-75B8AE36D068}" dt="2024-12-17T16:11:46.873" v="3256" actId="20577"/>
          <ac:spMkLst>
            <pc:docMk/>
            <pc:sldMk cId="855787567" sldId="410"/>
            <ac:spMk id="7" creationId="{C523BE4E-2521-9C10-8C58-E0EFEF8ABB9D}"/>
          </ac:spMkLst>
        </pc:spChg>
        <pc:spChg chg="mod">
          <ac:chgData name="Bart Vries" userId="e5e551dc-3d5a-4eff-8a2a-34ac7bf2fa92" providerId="ADAL" clId="{C227C9AB-61F9-4C7A-945B-75B8AE36D068}" dt="2024-12-17T16:48:15.243" v="3559" actId="20577"/>
          <ac:spMkLst>
            <pc:docMk/>
            <pc:sldMk cId="855787567" sldId="410"/>
            <ac:spMk id="8" creationId="{0DC7BB9D-5EA0-9868-E16E-52D583B5F584}"/>
          </ac:spMkLst>
        </pc:spChg>
        <pc:spChg chg="mod">
          <ac:chgData name="Bart Vries" userId="e5e551dc-3d5a-4eff-8a2a-34ac7bf2fa92" providerId="ADAL" clId="{C227C9AB-61F9-4C7A-945B-75B8AE36D068}" dt="2024-12-18T10:03:55.697" v="5584" actId="20577"/>
          <ac:spMkLst>
            <pc:docMk/>
            <pc:sldMk cId="855787567" sldId="410"/>
            <ac:spMk id="9" creationId="{6C06DCFC-C8DC-EF6C-8728-CF0E3AE6FED2}"/>
          </ac:spMkLst>
        </pc:spChg>
      </pc:sldChg>
      <pc:sldChg chg="addSp delSp modSp add del mod modNotesTx">
        <pc:chgData name="Bart Vries" userId="e5e551dc-3d5a-4eff-8a2a-34ac7bf2fa92" providerId="ADAL" clId="{C227C9AB-61F9-4C7A-945B-75B8AE36D068}" dt="2024-12-17T15:52:11.363" v="3186" actId="47"/>
        <pc:sldMkLst>
          <pc:docMk/>
          <pc:sldMk cId="75884769" sldId="411"/>
        </pc:sldMkLst>
        <pc:picChg chg="del">
          <ac:chgData name="Bart Vries" userId="e5e551dc-3d5a-4eff-8a2a-34ac7bf2fa92" providerId="ADAL" clId="{C227C9AB-61F9-4C7A-945B-75B8AE36D068}" dt="2024-12-17T15:28:59.499" v="3082" actId="478"/>
          <ac:picMkLst>
            <pc:docMk/>
            <pc:sldMk cId="75884769" sldId="411"/>
            <ac:picMk id="5" creationId="{F73108B6-880D-598C-8751-BD633F64E9EB}"/>
          </ac:picMkLst>
        </pc:picChg>
        <pc:picChg chg="add mod">
          <ac:chgData name="Bart Vries" userId="e5e551dc-3d5a-4eff-8a2a-34ac7bf2fa92" providerId="ADAL" clId="{C227C9AB-61F9-4C7A-945B-75B8AE36D068}" dt="2024-12-17T15:29:02.628" v="3084" actId="1076"/>
          <ac:picMkLst>
            <pc:docMk/>
            <pc:sldMk cId="75884769" sldId="411"/>
            <ac:picMk id="6" creationId="{CFD9EFDF-294C-38D1-A238-1047A3574228}"/>
          </ac:picMkLst>
        </pc:picChg>
        <pc:picChg chg="add mod">
          <ac:chgData name="Bart Vries" userId="e5e551dc-3d5a-4eff-8a2a-34ac7bf2fa92" providerId="ADAL" clId="{C227C9AB-61F9-4C7A-945B-75B8AE36D068}" dt="2024-12-17T15:32:50.993" v="3087" actId="1076"/>
          <ac:picMkLst>
            <pc:docMk/>
            <pc:sldMk cId="75884769" sldId="411"/>
            <ac:picMk id="8" creationId="{7FB87D64-D42F-15C4-413D-A24DED80D8FE}"/>
          </ac:picMkLst>
        </pc:picChg>
      </pc:sldChg>
      <pc:sldChg chg="add del">
        <pc:chgData name="Bart Vries" userId="e5e551dc-3d5a-4eff-8a2a-34ac7bf2fa92" providerId="ADAL" clId="{C227C9AB-61F9-4C7A-945B-75B8AE36D068}" dt="2024-12-17T15:26:51.408" v="3079" actId="47"/>
        <pc:sldMkLst>
          <pc:docMk/>
          <pc:sldMk cId="626297181" sldId="411"/>
        </pc:sldMkLst>
      </pc:sldChg>
      <pc:sldChg chg="modSp add del mod">
        <pc:chgData name="Bart Vries" userId="e5e551dc-3d5a-4eff-8a2a-34ac7bf2fa92" providerId="ADAL" clId="{C227C9AB-61F9-4C7A-945B-75B8AE36D068}" dt="2024-12-18T16:51:32.340" v="7349" actId="47"/>
        <pc:sldMkLst>
          <pc:docMk/>
          <pc:sldMk cId="1821515220" sldId="411"/>
        </pc:sldMkLst>
        <pc:spChg chg="mod">
          <ac:chgData name="Bart Vries" userId="e5e551dc-3d5a-4eff-8a2a-34ac7bf2fa92" providerId="ADAL" clId="{C227C9AB-61F9-4C7A-945B-75B8AE36D068}" dt="2024-12-18T16:49:22.465" v="7273"/>
          <ac:spMkLst>
            <pc:docMk/>
            <pc:sldMk cId="1821515220" sldId="411"/>
            <ac:spMk id="4" creationId="{2579D696-7C2F-ACFA-58E2-330A090FD3C6}"/>
          </ac:spMkLst>
        </pc:spChg>
      </pc:sldChg>
      <pc:sldChg chg="modSp add del mod">
        <pc:chgData name="Bart Vries" userId="e5e551dc-3d5a-4eff-8a2a-34ac7bf2fa92" providerId="ADAL" clId="{C227C9AB-61F9-4C7A-945B-75B8AE36D068}" dt="2024-12-18T12:53:16.425" v="5653" actId="47"/>
        <pc:sldMkLst>
          <pc:docMk/>
          <pc:sldMk cId="1198195984" sldId="412"/>
        </pc:sldMkLst>
        <pc:spChg chg="mod">
          <ac:chgData name="Bart Vries" userId="e5e551dc-3d5a-4eff-8a2a-34ac7bf2fa92" providerId="ADAL" clId="{C227C9AB-61F9-4C7A-945B-75B8AE36D068}" dt="2024-12-17T16:50:25.979" v="3567"/>
          <ac:spMkLst>
            <pc:docMk/>
            <pc:sldMk cId="1198195984" sldId="412"/>
            <ac:spMk id="5" creationId="{DF8B1BDB-1B1D-368F-6ABC-682E659113D2}"/>
          </ac:spMkLst>
        </pc:spChg>
        <pc:spChg chg="mod">
          <ac:chgData name="Bart Vries" userId="e5e551dc-3d5a-4eff-8a2a-34ac7bf2fa92" providerId="ADAL" clId="{C227C9AB-61F9-4C7A-945B-75B8AE36D068}" dt="2024-12-17T16:46:30.710" v="3446" actId="113"/>
          <ac:spMkLst>
            <pc:docMk/>
            <pc:sldMk cId="1198195984" sldId="412"/>
            <ac:spMk id="6" creationId="{3E4FAEE1-D9FF-B3A0-C01E-B6692EF7F007}"/>
          </ac:spMkLst>
        </pc:spChg>
        <pc:spChg chg="mod">
          <ac:chgData name="Bart Vries" userId="e5e551dc-3d5a-4eff-8a2a-34ac7bf2fa92" providerId="ADAL" clId="{C227C9AB-61F9-4C7A-945B-75B8AE36D068}" dt="2024-12-17T16:46:38.484" v="3449" actId="113"/>
          <ac:spMkLst>
            <pc:docMk/>
            <pc:sldMk cId="1198195984" sldId="412"/>
            <ac:spMk id="7" creationId="{4E8BD0CA-F246-86CE-EF57-37A40A079FB8}"/>
          </ac:spMkLst>
        </pc:spChg>
        <pc:spChg chg="mod">
          <ac:chgData name="Bart Vries" userId="e5e551dc-3d5a-4eff-8a2a-34ac7bf2fa92" providerId="ADAL" clId="{C227C9AB-61F9-4C7A-945B-75B8AE36D068}" dt="2024-12-17T16:48:07.259" v="3557" actId="20577"/>
          <ac:spMkLst>
            <pc:docMk/>
            <pc:sldMk cId="1198195984" sldId="412"/>
            <ac:spMk id="8" creationId="{7BE054E0-FDBB-D24E-12C6-773DDB4736E4}"/>
          </ac:spMkLst>
        </pc:spChg>
        <pc:spChg chg="mod">
          <ac:chgData name="Bart Vries" userId="e5e551dc-3d5a-4eff-8a2a-34ac7bf2fa92" providerId="ADAL" clId="{C227C9AB-61F9-4C7A-945B-75B8AE36D068}" dt="2024-12-18T10:03:50.955" v="5582" actId="20577"/>
          <ac:spMkLst>
            <pc:docMk/>
            <pc:sldMk cId="1198195984" sldId="412"/>
            <ac:spMk id="9" creationId="{1E311EEA-25D4-D0F6-AD71-30456A5FD838}"/>
          </ac:spMkLst>
        </pc:spChg>
      </pc:sldChg>
      <pc:sldChg chg="add del">
        <pc:chgData name="Bart Vries" userId="e5e551dc-3d5a-4eff-8a2a-34ac7bf2fa92" providerId="ADAL" clId="{C227C9AB-61F9-4C7A-945B-75B8AE36D068}" dt="2024-12-18T09:19:04.588" v="3572" actId="47"/>
        <pc:sldMkLst>
          <pc:docMk/>
          <pc:sldMk cId="95947886" sldId="413"/>
        </pc:sldMkLst>
      </pc:sldChg>
      <pc:sldChg chg="addSp modSp add mod">
        <pc:chgData name="Bart Vries" userId="e5e551dc-3d5a-4eff-8a2a-34ac7bf2fa92" providerId="ADAL" clId="{C227C9AB-61F9-4C7A-945B-75B8AE36D068}" dt="2024-12-18T15:45:57.692" v="6658"/>
        <pc:sldMkLst>
          <pc:docMk/>
          <pc:sldMk cId="1364951679" sldId="413"/>
        </pc:sldMkLst>
        <pc:spChg chg="mod">
          <ac:chgData name="Bart Vries" userId="e5e551dc-3d5a-4eff-8a2a-34ac7bf2fa92" providerId="ADAL" clId="{C227C9AB-61F9-4C7A-945B-75B8AE36D068}" dt="2024-12-18T14:20:39.604" v="5726" actId="20577"/>
          <ac:spMkLst>
            <pc:docMk/>
            <pc:sldMk cId="1364951679" sldId="413"/>
            <ac:spMk id="3" creationId="{F22BB557-CEFF-A9C9-576B-E50415928635}"/>
          </ac:spMkLst>
        </pc:spChg>
        <pc:spChg chg="mod">
          <ac:chgData name="Bart Vries" userId="e5e551dc-3d5a-4eff-8a2a-34ac7bf2fa92" providerId="ADAL" clId="{C227C9AB-61F9-4C7A-945B-75B8AE36D068}" dt="2024-12-18T14:20:47.829" v="5729" actId="20577"/>
          <ac:spMkLst>
            <pc:docMk/>
            <pc:sldMk cId="1364951679" sldId="413"/>
            <ac:spMk id="4" creationId="{9B2F835F-6C2B-21B8-95D2-BE52102187E3}"/>
          </ac:spMkLst>
        </pc:spChg>
        <pc:picChg chg="add mod">
          <ac:chgData name="Bart Vries" userId="e5e551dc-3d5a-4eff-8a2a-34ac7bf2fa92" providerId="ADAL" clId="{C227C9AB-61F9-4C7A-945B-75B8AE36D068}" dt="2024-12-18T15:45:57.692" v="6658"/>
          <ac:picMkLst>
            <pc:docMk/>
            <pc:sldMk cId="1364951679" sldId="413"/>
            <ac:picMk id="2" creationId="{2D624884-71D2-CBE8-BD9C-332D97F1B45F}"/>
          </ac:picMkLst>
        </pc:picChg>
      </pc:sldChg>
      <pc:sldChg chg="modSp add mod ord">
        <pc:chgData name="Bart Vries" userId="e5e551dc-3d5a-4eff-8a2a-34ac7bf2fa92" providerId="ADAL" clId="{C227C9AB-61F9-4C7A-945B-75B8AE36D068}" dt="2024-12-18T16:48:53.454" v="7270" actId="20577"/>
        <pc:sldMkLst>
          <pc:docMk/>
          <pc:sldMk cId="1009806790" sldId="414"/>
        </pc:sldMkLst>
        <pc:spChg chg="mod">
          <ac:chgData name="Bart Vries" userId="e5e551dc-3d5a-4eff-8a2a-34ac7bf2fa92" providerId="ADAL" clId="{C227C9AB-61F9-4C7A-945B-75B8AE36D068}" dt="2024-12-18T16:48:53.454" v="7270" actId="20577"/>
          <ac:spMkLst>
            <pc:docMk/>
            <pc:sldMk cId="1009806790" sldId="414"/>
            <ac:spMk id="2" creationId="{03B05F7F-B8F1-E600-F3BE-78B07CA9CA78}"/>
          </ac:spMkLst>
        </pc:spChg>
      </pc:sldChg>
      <pc:sldChg chg="addSp delSp modSp new mod chgLayout modNotesTx">
        <pc:chgData name="Bart Vries" userId="e5e551dc-3d5a-4eff-8a2a-34ac7bf2fa92" providerId="ADAL" clId="{C227C9AB-61F9-4C7A-945B-75B8AE36D068}" dt="2024-12-18T09:58:17.944" v="5498" actId="20577"/>
        <pc:sldMkLst>
          <pc:docMk/>
          <pc:sldMk cId="2191691413" sldId="415"/>
        </pc:sldMkLst>
        <pc:spChg chg="del mod ord">
          <ac:chgData name="Bart Vries" userId="e5e551dc-3d5a-4eff-8a2a-34ac7bf2fa92" providerId="ADAL" clId="{C227C9AB-61F9-4C7A-945B-75B8AE36D068}" dt="2024-12-18T09:34:13.169" v="4064" actId="700"/>
          <ac:spMkLst>
            <pc:docMk/>
            <pc:sldMk cId="2191691413" sldId="415"/>
            <ac:spMk id="2" creationId="{6DBB6445-6846-74C2-EF82-A1959AD122B3}"/>
          </ac:spMkLst>
        </pc:spChg>
        <pc:spChg chg="del">
          <ac:chgData name="Bart Vries" userId="e5e551dc-3d5a-4eff-8a2a-34ac7bf2fa92" providerId="ADAL" clId="{C227C9AB-61F9-4C7A-945B-75B8AE36D068}" dt="2024-12-18T09:34:13.169" v="4064" actId="700"/>
          <ac:spMkLst>
            <pc:docMk/>
            <pc:sldMk cId="2191691413" sldId="415"/>
            <ac:spMk id="3" creationId="{E752CA19-3A83-3786-AEE1-24C5FB8CE01D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4" creationId="{24722669-6E32-01AD-A6E1-0C0B859126E6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5" creationId="{9A503783-075B-BFB5-A251-238E5142D4F5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6" creationId="{C959A293-7270-7CA7-7C90-E7554DA1B4A2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7" creationId="{66A0DA4C-B903-8C2F-E652-29A4A53A2D73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8" creationId="{3E4F8273-E1F7-79E7-EF06-768F355D02E3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9" creationId="{9CDE73B6-36C5-E25E-4CD6-1C338539716F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10" creationId="{FA112E56-F3CF-7606-1053-8012D4284AF8}"/>
          </ac:spMkLst>
        </pc:spChg>
        <pc:spChg chg="add mod ord">
          <ac:chgData name="Bart Vries" userId="e5e551dc-3d5a-4eff-8a2a-34ac7bf2fa92" providerId="ADAL" clId="{C227C9AB-61F9-4C7A-945B-75B8AE36D068}" dt="2024-12-18T09:47:37.828" v="4956" actId="20577"/>
          <ac:spMkLst>
            <pc:docMk/>
            <pc:sldMk cId="2191691413" sldId="415"/>
            <ac:spMk id="11" creationId="{2EFB9063-DC39-844C-8892-9574801A3282}"/>
          </ac:spMkLst>
        </pc:spChg>
        <pc:spChg chg="add mod ord">
          <ac:chgData name="Bart Vries" userId="e5e551dc-3d5a-4eff-8a2a-34ac7bf2fa92" providerId="ADAL" clId="{C227C9AB-61F9-4C7A-945B-75B8AE36D068}" dt="2024-12-18T09:44:24.822" v="4749" actId="5793"/>
          <ac:spMkLst>
            <pc:docMk/>
            <pc:sldMk cId="2191691413" sldId="415"/>
            <ac:spMk id="12" creationId="{43BA4917-5B0C-96D9-8286-6F18E0073187}"/>
          </ac:spMkLst>
        </pc:spChg>
        <pc:graphicFrameChg chg="add del mod modGraphic">
          <ac:chgData name="Bart Vries" userId="e5e551dc-3d5a-4eff-8a2a-34ac7bf2fa92" providerId="ADAL" clId="{C227C9AB-61F9-4C7A-945B-75B8AE36D068}" dt="2024-12-18T09:42:26.284" v="4537" actId="478"/>
          <ac:graphicFrameMkLst>
            <pc:docMk/>
            <pc:sldMk cId="2191691413" sldId="415"/>
            <ac:graphicFrameMk id="13" creationId="{B0075DAB-577F-81BD-37CB-3B12330AD0F4}"/>
          </ac:graphicFrameMkLst>
        </pc:graphicFrameChg>
        <pc:graphicFrameChg chg="add mod modGraphic">
          <ac:chgData name="Bart Vries" userId="e5e551dc-3d5a-4eff-8a2a-34ac7bf2fa92" providerId="ADAL" clId="{C227C9AB-61F9-4C7A-945B-75B8AE36D068}" dt="2024-12-18T09:46:52.481" v="4909" actId="20577"/>
          <ac:graphicFrameMkLst>
            <pc:docMk/>
            <pc:sldMk cId="2191691413" sldId="415"/>
            <ac:graphicFrameMk id="14" creationId="{44ACD5FC-512C-966D-7C61-0FC2D5A452AE}"/>
          </ac:graphicFrameMkLst>
        </pc:graphicFrameChg>
      </pc:sldChg>
      <pc:sldChg chg="modSp add mod modNotesTx">
        <pc:chgData name="Bart Vries" userId="e5e551dc-3d5a-4eff-8a2a-34ac7bf2fa92" providerId="ADAL" clId="{C227C9AB-61F9-4C7A-945B-75B8AE36D068}" dt="2024-12-18T09:59:58.464" v="5568" actId="20577"/>
        <pc:sldMkLst>
          <pc:docMk/>
          <pc:sldMk cId="1596711374" sldId="416"/>
        </pc:sldMkLst>
        <pc:spChg chg="mod">
          <ac:chgData name="Bart Vries" userId="e5e551dc-3d5a-4eff-8a2a-34ac7bf2fa92" providerId="ADAL" clId="{C227C9AB-61F9-4C7A-945B-75B8AE36D068}" dt="2024-12-18T09:48:30.371" v="4988" actId="20577"/>
          <ac:spMkLst>
            <pc:docMk/>
            <pc:sldMk cId="1596711374" sldId="416"/>
            <ac:spMk id="11" creationId="{FECAA945-1535-AC8C-F205-112C2B681AC0}"/>
          </ac:spMkLst>
        </pc:spChg>
        <pc:graphicFrameChg chg="mod modGraphic">
          <ac:chgData name="Bart Vries" userId="e5e551dc-3d5a-4eff-8a2a-34ac7bf2fa92" providerId="ADAL" clId="{C227C9AB-61F9-4C7A-945B-75B8AE36D068}" dt="2024-12-18T09:59:58.464" v="5568" actId="20577"/>
          <ac:graphicFrameMkLst>
            <pc:docMk/>
            <pc:sldMk cId="1596711374" sldId="416"/>
            <ac:graphicFrameMk id="14" creationId="{C151980F-622A-5AB8-431A-95E203AF27DB}"/>
          </ac:graphicFrameMkLst>
        </pc:graphicFrameChg>
      </pc:sldChg>
      <pc:sldChg chg="modSp add del mod">
        <pc:chgData name="Bart Vries" userId="e5e551dc-3d5a-4eff-8a2a-34ac7bf2fa92" providerId="ADAL" clId="{C227C9AB-61F9-4C7A-945B-75B8AE36D068}" dt="2024-12-18T12:53:32.058" v="5657" actId="47"/>
        <pc:sldMkLst>
          <pc:docMk/>
          <pc:sldMk cId="2752447049" sldId="417"/>
        </pc:sldMkLst>
        <pc:spChg chg="mod">
          <ac:chgData name="Bart Vries" userId="e5e551dc-3d5a-4eff-8a2a-34ac7bf2fa92" providerId="ADAL" clId="{C227C9AB-61F9-4C7A-945B-75B8AE36D068}" dt="2024-12-18T12:43:54.114" v="5588" actId="113"/>
          <ac:spMkLst>
            <pc:docMk/>
            <pc:sldMk cId="2752447049" sldId="417"/>
            <ac:spMk id="7" creationId="{13D3A5DA-25C2-795D-BFC5-53947E553C15}"/>
          </ac:spMkLst>
        </pc:spChg>
        <pc:spChg chg="mod">
          <ac:chgData name="Bart Vries" userId="e5e551dc-3d5a-4eff-8a2a-34ac7bf2fa92" providerId="ADAL" clId="{C227C9AB-61F9-4C7A-945B-75B8AE36D068}" dt="2024-12-18T12:43:55.879" v="5589" actId="113"/>
          <ac:spMkLst>
            <pc:docMk/>
            <pc:sldMk cId="2752447049" sldId="417"/>
            <ac:spMk id="8" creationId="{81DCB866-6E1F-0744-FD76-8C05E0E01293}"/>
          </ac:spMkLst>
        </pc:spChg>
      </pc:sldChg>
      <pc:sldChg chg="addSp modSp add mod">
        <pc:chgData name="Bart Vries" userId="e5e551dc-3d5a-4eff-8a2a-34ac7bf2fa92" providerId="ADAL" clId="{C227C9AB-61F9-4C7A-945B-75B8AE36D068}" dt="2024-12-18T15:45:22.051" v="6655"/>
        <pc:sldMkLst>
          <pc:docMk/>
          <pc:sldMk cId="1503231557" sldId="418"/>
        </pc:sldMkLst>
        <pc:spChg chg="mod">
          <ac:chgData name="Bart Vries" userId="e5e551dc-3d5a-4eff-8a2a-34ac7bf2fa92" providerId="ADAL" clId="{C227C9AB-61F9-4C7A-945B-75B8AE36D068}" dt="2024-12-18T12:53:04.582" v="5650" actId="113"/>
          <ac:spMkLst>
            <pc:docMk/>
            <pc:sldMk cId="1503231557" sldId="418"/>
            <ac:spMk id="6" creationId="{38C32285-F3C0-CC7D-3708-475C79E80564}"/>
          </ac:spMkLst>
        </pc:spChg>
        <pc:picChg chg="add mod">
          <ac:chgData name="Bart Vries" userId="e5e551dc-3d5a-4eff-8a2a-34ac7bf2fa92" providerId="ADAL" clId="{C227C9AB-61F9-4C7A-945B-75B8AE36D068}" dt="2024-12-18T15:45:22.051" v="6655"/>
          <ac:picMkLst>
            <pc:docMk/>
            <pc:sldMk cId="1503231557" sldId="418"/>
            <ac:picMk id="10" creationId="{2B9A9B4F-66A2-CE8E-9165-850FE9135134}"/>
          </ac:picMkLst>
        </pc:picChg>
      </pc:sldChg>
      <pc:sldChg chg="addSp modSp add mod">
        <pc:chgData name="Bart Vries" userId="e5e551dc-3d5a-4eff-8a2a-34ac7bf2fa92" providerId="ADAL" clId="{C227C9AB-61F9-4C7A-945B-75B8AE36D068}" dt="2024-12-18T15:45:38.971" v="6656"/>
        <pc:sldMkLst>
          <pc:docMk/>
          <pc:sldMk cId="2734461288" sldId="419"/>
        </pc:sldMkLst>
        <pc:spChg chg="mod">
          <ac:chgData name="Bart Vries" userId="e5e551dc-3d5a-4eff-8a2a-34ac7bf2fa92" providerId="ADAL" clId="{C227C9AB-61F9-4C7A-945B-75B8AE36D068}" dt="2024-12-18T12:53:20.478" v="5654" actId="113"/>
          <ac:spMkLst>
            <pc:docMk/>
            <pc:sldMk cId="2734461288" sldId="419"/>
            <ac:spMk id="6" creationId="{3BC3DF1A-571A-96A2-1E8E-8A5144B0DE91}"/>
          </ac:spMkLst>
        </pc:spChg>
        <pc:spChg chg="mod">
          <ac:chgData name="Bart Vries" userId="e5e551dc-3d5a-4eff-8a2a-34ac7bf2fa92" providerId="ADAL" clId="{C227C9AB-61F9-4C7A-945B-75B8AE36D068}" dt="2024-12-18T12:53:22.396" v="5655" actId="113"/>
          <ac:spMkLst>
            <pc:docMk/>
            <pc:sldMk cId="2734461288" sldId="419"/>
            <ac:spMk id="7" creationId="{88E93550-FD62-ED04-EA05-4D0CAB68BD00}"/>
          </ac:spMkLst>
        </pc:spChg>
        <pc:picChg chg="add mod">
          <ac:chgData name="Bart Vries" userId="e5e551dc-3d5a-4eff-8a2a-34ac7bf2fa92" providerId="ADAL" clId="{C227C9AB-61F9-4C7A-945B-75B8AE36D068}" dt="2024-12-18T15:45:38.971" v="6656"/>
          <ac:picMkLst>
            <pc:docMk/>
            <pc:sldMk cId="2734461288" sldId="419"/>
            <ac:picMk id="10" creationId="{E30314F6-90A2-99CB-56FA-4038AA23949B}"/>
          </ac:picMkLst>
        </pc:picChg>
      </pc:sldChg>
      <pc:sldChg chg="addSp modSp add mod">
        <pc:chgData name="Bart Vries" userId="e5e551dc-3d5a-4eff-8a2a-34ac7bf2fa92" providerId="ADAL" clId="{C227C9AB-61F9-4C7A-945B-75B8AE36D068}" dt="2024-12-18T15:45:44.087" v="6657"/>
        <pc:sldMkLst>
          <pc:docMk/>
          <pc:sldMk cId="3583848765" sldId="420"/>
        </pc:sldMkLst>
        <pc:spChg chg="mod">
          <ac:chgData name="Bart Vries" userId="e5e551dc-3d5a-4eff-8a2a-34ac7bf2fa92" providerId="ADAL" clId="{C227C9AB-61F9-4C7A-945B-75B8AE36D068}" dt="2024-12-18T12:53:35.231" v="5658" actId="113"/>
          <ac:spMkLst>
            <pc:docMk/>
            <pc:sldMk cId="3583848765" sldId="420"/>
            <ac:spMk id="7" creationId="{3D93269E-B350-5F9F-7A03-CE4C70A7A10E}"/>
          </ac:spMkLst>
        </pc:spChg>
        <pc:spChg chg="mod">
          <ac:chgData name="Bart Vries" userId="e5e551dc-3d5a-4eff-8a2a-34ac7bf2fa92" providerId="ADAL" clId="{C227C9AB-61F9-4C7A-945B-75B8AE36D068}" dt="2024-12-18T12:53:36.901" v="5659" actId="113"/>
          <ac:spMkLst>
            <pc:docMk/>
            <pc:sldMk cId="3583848765" sldId="420"/>
            <ac:spMk id="8" creationId="{A41F70E1-A785-C318-173F-9EA7A476092E}"/>
          </ac:spMkLst>
        </pc:spChg>
        <pc:picChg chg="add mod">
          <ac:chgData name="Bart Vries" userId="e5e551dc-3d5a-4eff-8a2a-34ac7bf2fa92" providerId="ADAL" clId="{C227C9AB-61F9-4C7A-945B-75B8AE36D068}" dt="2024-12-18T15:45:44.087" v="6657"/>
          <ac:picMkLst>
            <pc:docMk/>
            <pc:sldMk cId="3583848765" sldId="420"/>
            <ac:picMk id="10" creationId="{BF69D234-46D8-833A-9630-4B6A12B36BBC}"/>
          </ac:picMkLst>
        </pc:picChg>
      </pc:sldChg>
      <pc:sldChg chg="modSp add mod">
        <pc:chgData name="Bart Vries" userId="e5e551dc-3d5a-4eff-8a2a-34ac7bf2fa92" providerId="ADAL" clId="{C227C9AB-61F9-4C7A-945B-75B8AE36D068}" dt="2024-12-18T15:17:00.021" v="6159" actId="20577"/>
        <pc:sldMkLst>
          <pc:docMk/>
          <pc:sldMk cId="3172792836" sldId="421"/>
        </pc:sldMkLst>
        <pc:spChg chg="mod">
          <ac:chgData name="Bart Vries" userId="e5e551dc-3d5a-4eff-8a2a-34ac7bf2fa92" providerId="ADAL" clId="{C227C9AB-61F9-4C7A-945B-75B8AE36D068}" dt="2024-12-18T15:16:37.980" v="6150" actId="20577"/>
          <ac:spMkLst>
            <pc:docMk/>
            <pc:sldMk cId="3172792836" sldId="421"/>
            <ac:spMk id="3" creationId="{0DE33D0F-9716-9DA5-EB02-D567EF856120}"/>
          </ac:spMkLst>
        </pc:spChg>
        <pc:spChg chg="mod">
          <ac:chgData name="Bart Vries" userId="e5e551dc-3d5a-4eff-8a2a-34ac7bf2fa92" providerId="ADAL" clId="{C227C9AB-61F9-4C7A-945B-75B8AE36D068}" dt="2024-12-18T15:17:00.021" v="6159" actId="20577"/>
          <ac:spMkLst>
            <pc:docMk/>
            <pc:sldMk cId="3172792836" sldId="421"/>
            <ac:spMk id="4" creationId="{7F4A3372-6C48-B951-5689-9A11B23C0282}"/>
          </ac:spMkLst>
        </pc:spChg>
      </pc:sldChg>
      <pc:sldChg chg="modSp add mod">
        <pc:chgData name="Bart Vries" userId="e5e551dc-3d5a-4eff-8a2a-34ac7bf2fa92" providerId="ADAL" clId="{C227C9AB-61F9-4C7A-945B-75B8AE36D068}" dt="2024-12-18T17:04:18.444" v="7447" actId="20577"/>
        <pc:sldMkLst>
          <pc:docMk/>
          <pc:sldMk cId="3764743223" sldId="422"/>
        </pc:sldMkLst>
        <pc:spChg chg="mod">
          <ac:chgData name="Bart Vries" userId="e5e551dc-3d5a-4eff-8a2a-34ac7bf2fa92" providerId="ADAL" clId="{C227C9AB-61F9-4C7A-945B-75B8AE36D068}" dt="2024-12-18T16:45:49.209" v="7057"/>
          <ac:spMkLst>
            <pc:docMk/>
            <pc:sldMk cId="3764743223" sldId="422"/>
            <ac:spMk id="3" creationId="{AAA856E4-462E-1792-98FF-0FE36FC9C679}"/>
          </ac:spMkLst>
        </pc:spChg>
        <pc:spChg chg="mod">
          <ac:chgData name="Bart Vries" userId="e5e551dc-3d5a-4eff-8a2a-34ac7bf2fa92" providerId="ADAL" clId="{C227C9AB-61F9-4C7A-945B-75B8AE36D068}" dt="2024-12-18T17:04:18.444" v="7447" actId="20577"/>
          <ac:spMkLst>
            <pc:docMk/>
            <pc:sldMk cId="3764743223" sldId="422"/>
            <ac:spMk id="4" creationId="{96EDBFD3-7203-A985-A791-C7448561DFE6}"/>
          </ac:spMkLst>
        </pc:spChg>
      </pc:sldChg>
      <pc:sldChg chg="modSp add mod">
        <pc:chgData name="Bart Vries" userId="e5e551dc-3d5a-4eff-8a2a-34ac7bf2fa92" providerId="ADAL" clId="{C227C9AB-61F9-4C7A-945B-75B8AE36D068}" dt="2024-12-18T15:36:59.284" v="6398"/>
        <pc:sldMkLst>
          <pc:docMk/>
          <pc:sldMk cId="3172256202" sldId="423"/>
        </pc:sldMkLst>
        <pc:spChg chg="mod">
          <ac:chgData name="Bart Vries" userId="e5e551dc-3d5a-4eff-8a2a-34ac7bf2fa92" providerId="ADAL" clId="{C227C9AB-61F9-4C7A-945B-75B8AE36D068}" dt="2024-12-18T15:32:48.850" v="6180"/>
          <ac:spMkLst>
            <pc:docMk/>
            <pc:sldMk cId="3172256202" sldId="423"/>
            <ac:spMk id="11" creationId="{37BE5CE3-DEF1-A740-7CF3-D90C973550EA}"/>
          </ac:spMkLst>
        </pc:spChg>
        <pc:graphicFrameChg chg="mod modGraphic">
          <ac:chgData name="Bart Vries" userId="e5e551dc-3d5a-4eff-8a2a-34ac7bf2fa92" providerId="ADAL" clId="{C227C9AB-61F9-4C7A-945B-75B8AE36D068}" dt="2024-12-18T15:36:59.284" v="6398"/>
          <ac:graphicFrameMkLst>
            <pc:docMk/>
            <pc:sldMk cId="3172256202" sldId="423"/>
            <ac:graphicFrameMk id="14" creationId="{C8A573D9-8D0D-D8F4-019E-9C9241C90860}"/>
          </ac:graphicFrameMkLst>
        </pc:graphicFrameChg>
      </pc:sldChg>
      <pc:sldChg chg="modSp add mod">
        <pc:chgData name="Bart Vries" userId="e5e551dc-3d5a-4eff-8a2a-34ac7bf2fa92" providerId="ADAL" clId="{C227C9AB-61F9-4C7A-945B-75B8AE36D068}" dt="2024-12-18T15:38:13.883" v="6401" actId="113"/>
        <pc:sldMkLst>
          <pc:docMk/>
          <pc:sldMk cId="2401610762" sldId="424"/>
        </pc:sldMkLst>
        <pc:spChg chg="mod">
          <ac:chgData name="Bart Vries" userId="e5e551dc-3d5a-4eff-8a2a-34ac7bf2fa92" providerId="ADAL" clId="{C227C9AB-61F9-4C7A-945B-75B8AE36D068}" dt="2024-12-18T15:38:11.071" v="6400" actId="113"/>
          <ac:spMkLst>
            <pc:docMk/>
            <pc:sldMk cId="2401610762" sldId="424"/>
            <ac:spMk id="8" creationId="{09ABE16A-E1DC-DB34-BEAE-71C18CCFCFCF}"/>
          </ac:spMkLst>
        </pc:spChg>
        <pc:spChg chg="mod">
          <ac:chgData name="Bart Vries" userId="e5e551dc-3d5a-4eff-8a2a-34ac7bf2fa92" providerId="ADAL" clId="{C227C9AB-61F9-4C7A-945B-75B8AE36D068}" dt="2024-12-18T15:38:13.883" v="6401" actId="113"/>
          <ac:spMkLst>
            <pc:docMk/>
            <pc:sldMk cId="2401610762" sldId="424"/>
            <ac:spMk id="9" creationId="{034C76B5-20D9-4C45-C777-F306D8520728}"/>
          </ac:spMkLst>
        </pc:spChg>
      </pc:sldChg>
      <pc:sldChg chg="addSp modSp add mod">
        <pc:chgData name="Bart Vries" userId="e5e551dc-3d5a-4eff-8a2a-34ac7bf2fa92" providerId="ADAL" clId="{C227C9AB-61F9-4C7A-945B-75B8AE36D068}" dt="2024-12-18T16:23:38.448" v="6713" actId="20577"/>
        <pc:sldMkLst>
          <pc:docMk/>
          <pc:sldMk cId="1857349128" sldId="425"/>
        </pc:sldMkLst>
        <pc:spChg chg="mod">
          <ac:chgData name="Bart Vries" userId="e5e551dc-3d5a-4eff-8a2a-34ac7bf2fa92" providerId="ADAL" clId="{C227C9AB-61F9-4C7A-945B-75B8AE36D068}" dt="2024-12-18T15:38:37.209" v="6409" actId="20577"/>
          <ac:spMkLst>
            <pc:docMk/>
            <pc:sldMk cId="1857349128" sldId="425"/>
            <ac:spMk id="3" creationId="{9266B39E-9ED7-D661-28EF-CE60367C6B17}"/>
          </ac:spMkLst>
        </pc:spChg>
        <pc:spChg chg="mod">
          <ac:chgData name="Bart Vries" userId="e5e551dc-3d5a-4eff-8a2a-34ac7bf2fa92" providerId="ADAL" clId="{C227C9AB-61F9-4C7A-945B-75B8AE36D068}" dt="2024-12-18T16:23:38.448" v="6713" actId="20577"/>
          <ac:spMkLst>
            <pc:docMk/>
            <pc:sldMk cId="1857349128" sldId="425"/>
            <ac:spMk id="4" creationId="{4D63D13C-0D20-334D-9117-8EBF5C3A8E46}"/>
          </ac:spMkLst>
        </pc:spChg>
        <pc:picChg chg="add mod">
          <ac:chgData name="Bart Vries" userId="e5e551dc-3d5a-4eff-8a2a-34ac7bf2fa92" providerId="ADAL" clId="{C227C9AB-61F9-4C7A-945B-75B8AE36D068}" dt="2024-12-18T15:44:49.786" v="6653"/>
          <ac:picMkLst>
            <pc:docMk/>
            <pc:sldMk cId="1857349128" sldId="425"/>
            <ac:picMk id="2" creationId="{BA46DAB5-A5F2-F325-3F35-4AF687F6B7FE}"/>
          </ac:picMkLst>
        </pc:picChg>
      </pc:sldChg>
      <pc:sldChg chg="modSp add mod">
        <pc:chgData name="Bart Vries" userId="e5e551dc-3d5a-4eff-8a2a-34ac7bf2fa92" providerId="ADAL" clId="{C227C9AB-61F9-4C7A-945B-75B8AE36D068}" dt="2024-12-18T16:38:13.848" v="6876" actId="20577"/>
        <pc:sldMkLst>
          <pc:docMk/>
          <pc:sldMk cId="1297263655" sldId="426"/>
        </pc:sldMkLst>
        <pc:spChg chg="mod">
          <ac:chgData name="Bart Vries" userId="e5e551dc-3d5a-4eff-8a2a-34ac7bf2fa92" providerId="ADAL" clId="{C227C9AB-61F9-4C7A-945B-75B8AE36D068}" dt="2024-12-18T16:36:03.987" v="6734" actId="20577"/>
          <ac:spMkLst>
            <pc:docMk/>
            <pc:sldMk cId="1297263655" sldId="426"/>
            <ac:spMk id="3" creationId="{CE498CD1-CD8E-F4B0-FD06-9167FB52954B}"/>
          </ac:spMkLst>
        </pc:spChg>
        <pc:spChg chg="mod">
          <ac:chgData name="Bart Vries" userId="e5e551dc-3d5a-4eff-8a2a-34ac7bf2fa92" providerId="ADAL" clId="{C227C9AB-61F9-4C7A-945B-75B8AE36D068}" dt="2024-12-18T16:38:13.848" v="6876" actId="20577"/>
          <ac:spMkLst>
            <pc:docMk/>
            <pc:sldMk cId="1297263655" sldId="426"/>
            <ac:spMk id="4" creationId="{AF8A67D4-AF3F-BE2E-AF7C-E965AE2E0470}"/>
          </ac:spMkLst>
        </pc:spChg>
      </pc:sldChg>
      <pc:sldChg chg="modSp add mod">
        <pc:chgData name="Bart Vries" userId="e5e551dc-3d5a-4eff-8a2a-34ac7bf2fa92" providerId="ADAL" clId="{C227C9AB-61F9-4C7A-945B-75B8AE36D068}" dt="2024-12-18T16:45:27.840" v="7040" actId="113"/>
        <pc:sldMkLst>
          <pc:docMk/>
          <pc:sldMk cId="3181275677" sldId="427"/>
        </pc:sldMkLst>
        <pc:spChg chg="mod">
          <ac:chgData name="Bart Vries" userId="e5e551dc-3d5a-4eff-8a2a-34ac7bf2fa92" providerId="ADAL" clId="{C227C9AB-61F9-4C7A-945B-75B8AE36D068}" dt="2024-12-18T16:45:27.840" v="7040" actId="113"/>
          <ac:spMkLst>
            <pc:docMk/>
            <pc:sldMk cId="3181275677" sldId="427"/>
            <ac:spMk id="2" creationId="{FFD98911-A42F-2F11-95A7-A1B0FC4EFB70}"/>
          </ac:spMkLst>
        </pc:spChg>
        <pc:spChg chg="mod">
          <ac:chgData name="Bart Vries" userId="e5e551dc-3d5a-4eff-8a2a-34ac7bf2fa92" providerId="ADAL" clId="{C227C9AB-61F9-4C7A-945B-75B8AE36D068}" dt="2024-12-18T16:45:24.275" v="7039" actId="113"/>
          <ac:spMkLst>
            <pc:docMk/>
            <pc:sldMk cId="3181275677" sldId="427"/>
            <ac:spMk id="9" creationId="{8C9FFE10-0715-F8A2-1D8C-FBD0D0E6EC20}"/>
          </ac:spMkLst>
        </pc:spChg>
      </pc:sldChg>
      <pc:sldChg chg="modSp add mod">
        <pc:chgData name="Bart Vries" userId="e5e551dc-3d5a-4eff-8a2a-34ac7bf2fa92" providerId="ADAL" clId="{C227C9AB-61F9-4C7A-945B-75B8AE36D068}" dt="2024-12-18T16:55:24.475" v="7443" actId="20577"/>
        <pc:sldMkLst>
          <pc:docMk/>
          <pc:sldMk cId="553821176" sldId="428"/>
        </pc:sldMkLst>
        <pc:spChg chg="mod">
          <ac:chgData name="Bart Vries" userId="e5e551dc-3d5a-4eff-8a2a-34ac7bf2fa92" providerId="ADAL" clId="{C227C9AB-61F9-4C7A-945B-75B8AE36D068}" dt="2024-12-18T16:55:24.475" v="7443" actId="20577"/>
          <ac:spMkLst>
            <pc:docMk/>
            <pc:sldMk cId="553821176" sldId="428"/>
            <ac:spMk id="4" creationId="{FC190036-9A8F-71E6-8A96-3F15A7516211}"/>
          </ac:spMkLst>
        </pc:spChg>
      </pc:sldChg>
      <pc:sldMasterChg chg="modSldLayout">
        <pc:chgData name="Bart Vries" userId="e5e551dc-3d5a-4eff-8a2a-34ac7bf2fa92" providerId="ADAL" clId="{C227C9AB-61F9-4C7A-945B-75B8AE36D068}" dt="2024-12-11T08:35:38.047" v="723"/>
        <pc:sldMasterMkLst>
          <pc:docMk/>
          <pc:sldMasterMk cId="2798829280" sldId="2147483700"/>
        </pc:sldMasterMkLst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117997070" sldId="2147483705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1816032533" sldId="2147483707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1564540306" sldId="2147483708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670976448" sldId="2147483709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4092538395" sldId="2147483710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612174670" sldId="2147483711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2108942045" sldId="2147483715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493581353" sldId="2147483717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745092767" sldId="2147483718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742749920" sldId="2147483719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54364963" sldId="2147483724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9535066" sldId="2147483725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865679276" sldId="2147483726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2739720608" sldId="2147483731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2517403905" sldId="214748374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EE0E52-9FA9-4B42-B8AF-6D441E01BAE7}" type="datetimeFigureOut">
              <a:rPr lang="nl-NL"/>
              <a:t>18-12-2024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9130D-5678-4701-ACC0-C6D607BA8146}" type="slidenum">
              <a:rPr lang="nl-NL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485646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77C25E-6688-43F9-8010-6219F97B2F0D}" type="datetimeFigureOut">
              <a:rPr lang="nl-NL"/>
              <a:t>18-12-2024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A6CEBA-87D9-4668-ADDB-ADABD8CF91EC}" type="slidenum">
              <a:rPr lang="nl-NL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553382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Profit: </a:t>
            </a:r>
            <a:r>
              <a:rPr lang="nl-NL" dirty="0" err="1"/>
              <a:t>Herschijven</a:t>
            </a:r>
            <a:r>
              <a:rPr lang="nl-NL" dirty="0"/>
              <a:t> </a:t>
            </a:r>
            <a:r>
              <a:rPr lang="nl-NL" dirty="0" err="1"/>
              <a:t>AntaObject</a:t>
            </a:r>
            <a:r>
              <a:rPr lang="nl-NL" dirty="0"/>
              <a:t> zodat je niet meer string gebaseerd hoeft te werken</a:t>
            </a:r>
          </a:p>
          <a:p>
            <a:r>
              <a:rPr lang="nl-NL" dirty="0"/>
              <a:t>Focus: Eerste versies CQRS uitgedacht en gebouwd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026412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158834-9C26-97A6-46BD-10A0E5247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7997E966-A6E3-AE6C-7C3E-4329B3C1B3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412A87E4-3153-D26C-2732-15EFA328A5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26E95DD-6CE4-CA1A-1709-2F67948304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425449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4E51FB-8229-3597-D3F2-256B62110E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08B97B5-4715-1A0F-3639-151BF4A5BB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489DB12B-CCCA-356F-453D-3D88CC3BCF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C3EA7CA-DBA4-0FD0-9523-9BC7BB8E7B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103593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600670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74D92C-1F6F-8879-CAE4-DD302C51EF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B336BF75-84EC-69F1-1365-710F785E8D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F66D7765-45B1-2050-05EF-BC8B2F4CDE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Scoped</a:t>
            </a:r>
            <a:r>
              <a:rPr lang="nl-NL" dirty="0"/>
              <a:t> wil je dus vrijwel nooit gebruiken, slechts in specifieke gevallen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2F5596E-4F49-4FF8-6CB7-1F194C9CF7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083695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FE2909-0C4D-39C4-8C31-8DC645A7B3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001D1822-F4D5-7512-1D74-AE772DBA6B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B7424E5F-D2C6-BBB9-CCD1-822C987579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22E354A-3F14-AD34-2E72-6866CB4D1F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191968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E84E26-CA2D-D777-1CA0-D499C29331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C641D5E-3DC5-1CFD-5F8A-D8EC88EB6C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6549455F-A04F-6299-C57E-766008B3BC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A02A44-0DFB-A226-2F9B-F3387E9E6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67367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38FB03-9FB1-EC6F-71B8-3AFF999635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40A75291-5F54-1F78-6D72-468708C51C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641042FC-594D-4307-868D-804579B2E6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403A2CD-AAA8-7844-7EC3-315BDCA964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944295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421A74-3E2A-809B-2696-690DF1B2B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8EA8F28-5A92-13A0-25F2-9EC7A81794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80A61D20-C9A7-12F7-13E7-E15FB634F0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40ADB290-4D9A-DD0D-F52C-54E3FCBAA0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593016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6F6A46-970B-C4A6-AB7C-EB041A23CA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507695EA-019F-D2B3-8C0B-E2F62084B9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E3F053B3-8EA9-9917-EC75-DDC31EB74D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33A1DE78-9BD1-3711-A4D0-395A98AA26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54070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507947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oon de basis van het model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612509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AA6A6D-702E-AD98-A65B-365E394BDE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36990E06-48B9-ADC1-4FF0-2F211355B8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9FC143AA-E31D-72E3-511E-DE2933C395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oon het BC en de </a:t>
            </a:r>
            <a:r>
              <a:rPr lang="nl-NL" dirty="0" err="1"/>
              <a:t>Program.cs</a:t>
            </a:r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7146E47-3363-4904-A6E2-C391DCCD35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09972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Belangrijkste reden om dit niet te doen…Unit </a:t>
            </a:r>
            <a:r>
              <a:rPr lang="nl-NL" dirty="0" err="1"/>
              <a:t>testing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09494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Om snel te zijn wordt in een unit test het proces hergebruikt. Een gegarandeerde manier om een goede unit test te breken is gebruik maken van </a:t>
            </a:r>
            <a:r>
              <a:rPr lang="nl-NL" dirty="0" err="1"/>
              <a:t>static</a:t>
            </a:r>
            <a:r>
              <a:rPr lang="nl-NL" dirty="0"/>
              <a:t> en </a:t>
            </a:r>
            <a:r>
              <a:rPr lang="nl-NL" dirty="0" err="1"/>
              <a:t>threadstatic</a:t>
            </a:r>
            <a:r>
              <a:rPr lang="nl-NL" dirty="0"/>
              <a:t> variabele. We moeten dus een andere oplossing voor Service </a:t>
            </a:r>
            <a:r>
              <a:rPr lang="nl-NL" dirty="0" err="1"/>
              <a:t>Dependencies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290702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Scoped</a:t>
            </a:r>
            <a:r>
              <a:rPr lang="nl-NL" dirty="0"/>
              <a:t> wil je dus vrijwel nooit gebruiken, slechts in specifieke gevallen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341112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Essentieel is het om te documenteren of een service thread safe is (of moet zijn bij een abstract)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877894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CD8C24-9C97-6947-AFFF-330EC9FF8E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600797B2-A48D-5FD2-25FF-A09254B740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20A3603E-D5C7-0D69-5074-4806BB744C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9BFDB7C4-2589-1037-A01C-02FC7BA589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292867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9D429F-101A-198F-5791-17A5600B6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noProof="0" dirty="0"/>
              <a:t>Plaats je titel hier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2C0B716F-0958-8EEB-AE83-D42708A06E2D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/>
        <p:txBody>
          <a:bodyPr vert="horz"/>
          <a:lstStyle>
            <a:lvl1pPr>
              <a:spcBef>
                <a:spcPts val="600"/>
              </a:spcBef>
              <a:spcAft>
                <a:spcPts val="600"/>
              </a:spcAft>
              <a:defRPr sz="2400"/>
            </a:lvl1pPr>
            <a:lvl2pPr>
              <a:spcBef>
                <a:spcPts val="600"/>
              </a:spcBef>
              <a:spcAft>
                <a:spcPts val="600"/>
              </a:spcAft>
              <a:defRPr sz="2400"/>
            </a:lvl2pPr>
            <a:lvl3pPr>
              <a:spcBef>
                <a:spcPts val="600"/>
              </a:spcBef>
              <a:spcAft>
                <a:spcPts val="600"/>
              </a:spcAft>
              <a:defRPr sz="2400"/>
            </a:lvl3pPr>
            <a:lvl5pPr>
              <a:spcBef>
                <a:spcPts val="600"/>
              </a:spcBef>
              <a:spcAft>
                <a:spcPts val="600"/>
              </a:spcAft>
              <a:defRPr sz="2800"/>
            </a:lvl5pPr>
            <a:lvl6pPr>
              <a:spcBef>
                <a:spcPts val="600"/>
              </a:spcBef>
              <a:spcAft>
                <a:spcPts val="600"/>
              </a:spcAft>
              <a:defRPr sz="2400"/>
            </a:lvl6pPr>
            <a:lvl7pPr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spcBef>
                <a:spcPts val="600"/>
              </a:spcBef>
              <a:spcAft>
                <a:spcPts val="600"/>
              </a:spcAft>
              <a:defRPr sz="4000"/>
            </a:lvl8pPr>
            <a:lvl9pPr>
              <a:spcBef>
                <a:spcPts val="600"/>
              </a:spcBef>
              <a:spcAft>
                <a:spcPts val="600"/>
              </a:spcAft>
              <a:defRPr sz="1800"/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Quote</a:t>
            </a:r>
          </a:p>
          <a:p>
            <a:pPr lvl="8"/>
            <a:r>
              <a:rPr lang="nl-NL" noProof="0" dirty="0"/>
              <a:t>Bron</a:t>
            </a:r>
          </a:p>
        </p:txBody>
      </p:sp>
      <p:sp>
        <p:nvSpPr>
          <p:cNvPr id="4" name="Tijdelijke aanduiding voor tekst 5">
            <a:extLst>
              <a:ext uri="{FF2B5EF4-FFF2-40B4-BE49-F238E27FC236}">
                <a16:creationId xmlns:a16="http://schemas.microsoft.com/office/drawing/2014/main" id="{3406B125-F16E-D2A3-7FED-25DFBEBAAA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2204053976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links boven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4CFDF14B-6516-E51F-8A3F-5CC7A1C763E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14" name="Tijdelijke aanduiding voor tekst 15">
            <a:extLst>
              <a:ext uri="{FF2B5EF4-FFF2-40B4-BE49-F238E27FC236}">
                <a16:creationId xmlns:a16="http://schemas.microsoft.com/office/drawing/2014/main" id="{1517B8F6-5084-FDA5-2A88-33BE4CC83F1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864000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t" anchorCtr="0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4092538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edig sche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5">
            <a:extLst>
              <a:ext uri="{FF2B5EF4-FFF2-40B4-BE49-F238E27FC236}">
                <a16:creationId xmlns:a16="http://schemas.microsoft.com/office/drawing/2014/main" id="{50AE3E96-17F8-42FF-5653-F372D97B849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Ga naar de tab ‘Invoegen’ en klik op ‘Afbeeldingen’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44408DC8-D60B-4C58-203E-A356C924372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775712"/>
            <a:ext cx="12192000" cy="1306576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ctr" anchorCtr="0">
            <a:spAutoFit/>
          </a:bodyPr>
          <a:lstStyle>
            <a:lvl1pPr marL="0" indent="0" algn="ctr">
              <a:spcAft>
                <a:spcPts val="1500"/>
              </a:spcAft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ekst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3612174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ok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5FFF7966-07C6-AB23-7344-EA92D67B36A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3" y="0"/>
            <a:ext cx="4064000" cy="6858000"/>
          </a:xfrm>
          <a:custGeom>
            <a:avLst/>
            <a:gdLst>
              <a:gd name="connsiteX0" fmla="*/ 0 w 4064000"/>
              <a:gd name="connsiteY0" fmla="*/ 0 h 6858000"/>
              <a:gd name="connsiteX1" fmla="*/ 3 w 4064000"/>
              <a:gd name="connsiteY1" fmla="*/ 0 h 6858000"/>
              <a:gd name="connsiteX2" fmla="*/ 3919151 w 4064000"/>
              <a:gd name="connsiteY2" fmla="*/ 0 h 6858000"/>
              <a:gd name="connsiteX3" fmla="*/ 4064000 w 4064000"/>
              <a:gd name="connsiteY3" fmla="*/ 0 h 6858000"/>
              <a:gd name="connsiteX4" fmla="*/ 4064000 w 4064000"/>
              <a:gd name="connsiteY4" fmla="*/ 318 h 6858000"/>
              <a:gd name="connsiteX5" fmla="*/ 3956495 w 4064000"/>
              <a:gd name="connsiteY5" fmla="*/ 318 h 6858000"/>
              <a:gd name="connsiteX6" fmla="*/ 4004945 w 4064000"/>
              <a:gd name="connsiteY6" fmla="*/ 732727 h 6858000"/>
              <a:gd name="connsiteX7" fmla="*/ 3952177 w 4064000"/>
              <a:gd name="connsiteY7" fmla="*/ 2016125 h 6858000"/>
              <a:gd name="connsiteX8" fmla="*/ 3994531 w 4064000"/>
              <a:gd name="connsiteY8" fmla="*/ 3781425 h 6858000"/>
              <a:gd name="connsiteX9" fmla="*/ 3937572 w 4064000"/>
              <a:gd name="connsiteY9" fmla="*/ 5378768 h 6858000"/>
              <a:gd name="connsiteX10" fmla="*/ 3962845 w 4064000"/>
              <a:gd name="connsiteY10" fmla="*/ 6857682 h 6858000"/>
              <a:gd name="connsiteX11" fmla="*/ 4064000 w 4064000"/>
              <a:gd name="connsiteY11" fmla="*/ 6857682 h 6858000"/>
              <a:gd name="connsiteX12" fmla="*/ 4064000 w 4064000"/>
              <a:gd name="connsiteY12" fmla="*/ 6858000 h 6858000"/>
              <a:gd name="connsiteX13" fmla="*/ 3919151 w 4064000"/>
              <a:gd name="connsiteY13" fmla="*/ 6858000 h 6858000"/>
              <a:gd name="connsiteX14" fmla="*/ 3 w 4064000"/>
              <a:gd name="connsiteY14" fmla="*/ 6858000 h 6858000"/>
              <a:gd name="connsiteX15" fmla="*/ 0 w 4064000"/>
              <a:gd name="connsiteY1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4000" h="6858000">
                <a:moveTo>
                  <a:pt x="0" y="0"/>
                </a:moveTo>
                <a:lnTo>
                  <a:pt x="3" y="0"/>
                </a:lnTo>
                <a:lnTo>
                  <a:pt x="3919151" y="0"/>
                </a:lnTo>
                <a:lnTo>
                  <a:pt x="4064000" y="0"/>
                </a:lnTo>
                <a:lnTo>
                  <a:pt x="4064000" y="318"/>
                </a:lnTo>
                <a:lnTo>
                  <a:pt x="3956495" y="318"/>
                </a:lnTo>
                <a:lnTo>
                  <a:pt x="4004945" y="732727"/>
                </a:lnTo>
                <a:lnTo>
                  <a:pt x="3952177" y="2016125"/>
                </a:lnTo>
                <a:lnTo>
                  <a:pt x="3994531" y="3781425"/>
                </a:lnTo>
                <a:lnTo>
                  <a:pt x="3937572" y="5378768"/>
                </a:lnTo>
                <a:lnTo>
                  <a:pt x="3962845" y="6857682"/>
                </a:lnTo>
                <a:lnTo>
                  <a:pt x="4064000" y="6857682"/>
                </a:lnTo>
                <a:lnTo>
                  <a:pt x="4064000" y="6858000"/>
                </a:lnTo>
                <a:lnTo>
                  <a:pt x="3919151" y="6858000"/>
                </a:lnTo>
                <a:lnTo>
                  <a:pt x="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12" name="Tijdelijke aanduiding voor afbeelding 11">
            <a:extLst>
              <a:ext uri="{FF2B5EF4-FFF2-40B4-BE49-F238E27FC236}">
                <a16:creationId xmlns:a16="http://schemas.microsoft.com/office/drawing/2014/main" id="{97AA6859-FFA2-A178-17A6-8F6ED862E9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064000" y="0"/>
            <a:ext cx="4064000" cy="6858000"/>
          </a:xfrm>
          <a:custGeom>
            <a:avLst/>
            <a:gdLst>
              <a:gd name="connsiteX0" fmla="*/ 0 w 4064000"/>
              <a:gd name="connsiteY0" fmla="*/ 0 h 6858000"/>
              <a:gd name="connsiteX1" fmla="*/ 72426 w 4064000"/>
              <a:gd name="connsiteY1" fmla="*/ 0 h 6858000"/>
              <a:gd name="connsiteX2" fmla="*/ 3991574 w 4064000"/>
              <a:gd name="connsiteY2" fmla="*/ 0 h 6858000"/>
              <a:gd name="connsiteX3" fmla="*/ 4064000 w 4064000"/>
              <a:gd name="connsiteY3" fmla="*/ 0 h 6858000"/>
              <a:gd name="connsiteX4" fmla="*/ 4064000 w 4064000"/>
              <a:gd name="connsiteY4" fmla="*/ 318 h 6858000"/>
              <a:gd name="connsiteX5" fmla="*/ 3991574 w 4064000"/>
              <a:gd name="connsiteY5" fmla="*/ 318 h 6858000"/>
              <a:gd name="connsiteX6" fmla="*/ 3991574 w 4064000"/>
              <a:gd name="connsiteY6" fmla="*/ 50534 h 6858000"/>
              <a:gd name="connsiteX7" fmla="*/ 4021391 w 4064000"/>
              <a:gd name="connsiteY7" fmla="*/ 825119 h 6858000"/>
              <a:gd name="connsiteX8" fmla="*/ 3993959 w 4064000"/>
              <a:gd name="connsiteY8" fmla="*/ 2016125 h 6858000"/>
              <a:gd name="connsiteX9" fmla="*/ 3991574 w 4064000"/>
              <a:gd name="connsiteY9" fmla="*/ 2248589 h 6858000"/>
              <a:gd name="connsiteX10" fmla="*/ 3991574 w 4064000"/>
              <a:gd name="connsiteY10" fmla="*/ 4140293 h 6858000"/>
              <a:gd name="connsiteX11" fmla="*/ 4027741 w 4064000"/>
              <a:gd name="connsiteY11" fmla="*/ 5290630 h 6858000"/>
              <a:gd name="connsiteX12" fmla="*/ 4027741 w 4064000"/>
              <a:gd name="connsiteY12" fmla="*/ 6857682 h 6858000"/>
              <a:gd name="connsiteX13" fmla="*/ 4064000 w 4064000"/>
              <a:gd name="connsiteY13" fmla="*/ 6857682 h 6858000"/>
              <a:gd name="connsiteX14" fmla="*/ 4064000 w 4064000"/>
              <a:gd name="connsiteY14" fmla="*/ 6858000 h 6858000"/>
              <a:gd name="connsiteX15" fmla="*/ 3991574 w 4064000"/>
              <a:gd name="connsiteY15" fmla="*/ 6858000 h 6858000"/>
              <a:gd name="connsiteX16" fmla="*/ 72426 w 4064000"/>
              <a:gd name="connsiteY16" fmla="*/ 6858000 h 6858000"/>
              <a:gd name="connsiteX17" fmla="*/ 0 w 4064000"/>
              <a:gd name="connsiteY17" fmla="*/ 6858000 h 6858000"/>
              <a:gd name="connsiteX18" fmla="*/ 0 w 4064000"/>
              <a:gd name="connsiteY18" fmla="*/ 6857682 h 6858000"/>
              <a:gd name="connsiteX19" fmla="*/ 25845 w 4064000"/>
              <a:gd name="connsiteY19" fmla="*/ 6857682 h 6858000"/>
              <a:gd name="connsiteX20" fmla="*/ 572 w 4064000"/>
              <a:gd name="connsiteY20" fmla="*/ 5378768 h 6858000"/>
              <a:gd name="connsiteX21" fmla="*/ 57531 w 4064000"/>
              <a:gd name="connsiteY21" fmla="*/ 3781425 h 6858000"/>
              <a:gd name="connsiteX22" fmla="*/ 15177 w 4064000"/>
              <a:gd name="connsiteY22" fmla="*/ 2016125 h 6858000"/>
              <a:gd name="connsiteX23" fmla="*/ 67945 w 4064000"/>
              <a:gd name="connsiteY23" fmla="*/ 732727 h 6858000"/>
              <a:gd name="connsiteX24" fmla="*/ 19495 w 4064000"/>
              <a:gd name="connsiteY24" fmla="*/ 318 h 6858000"/>
              <a:gd name="connsiteX25" fmla="*/ 0 w 4064000"/>
              <a:gd name="connsiteY25" fmla="*/ 31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064000" h="6858000">
                <a:moveTo>
                  <a:pt x="0" y="0"/>
                </a:moveTo>
                <a:lnTo>
                  <a:pt x="72426" y="0"/>
                </a:lnTo>
                <a:lnTo>
                  <a:pt x="3991574" y="0"/>
                </a:lnTo>
                <a:lnTo>
                  <a:pt x="4064000" y="0"/>
                </a:lnTo>
                <a:lnTo>
                  <a:pt x="4064000" y="318"/>
                </a:lnTo>
                <a:lnTo>
                  <a:pt x="3991574" y="318"/>
                </a:lnTo>
                <a:lnTo>
                  <a:pt x="3991574" y="50534"/>
                </a:lnTo>
                <a:lnTo>
                  <a:pt x="4021391" y="825119"/>
                </a:lnTo>
                <a:lnTo>
                  <a:pt x="3993959" y="2016125"/>
                </a:lnTo>
                <a:lnTo>
                  <a:pt x="3991574" y="2248589"/>
                </a:lnTo>
                <a:lnTo>
                  <a:pt x="3991574" y="4140293"/>
                </a:lnTo>
                <a:lnTo>
                  <a:pt x="4027741" y="5290630"/>
                </a:lnTo>
                <a:lnTo>
                  <a:pt x="4027741" y="6857682"/>
                </a:lnTo>
                <a:lnTo>
                  <a:pt x="4064000" y="6857682"/>
                </a:lnTo>
                <a:lnTo>
                  <a:pt x="4064000" y="6858000"/>
                </a:lnTo>
                <a:lnTo>
                  <a:pt x="3991574" y="6858000"/>
                </a:lnTo>
                <a:lnTo>
                  <a:pt x="72426" y="6858000"/>
                </a:lnTo>
                <a:lnTo>
                  <a:pt x="0" y="6858000"/>
                </a:lnTo>
                <a:lnTo>
                  <a:pt x="0" y="6857682"/>
                </a:lnTo>
                <a:lnTo>
                  <a:pt x="25845" y="6857682"/>
                </a:lnTo>
                <a:lnTo>
                  <a:pt x="572" y="5378768"/>
                </a:lnTo>
                <a:lnTo>
                  <a:pt x="57531" y="3781425"/>
                </a:lnTo>
                <a:lnTo>
                  <a:pt x="15177" y="2016125"/>
                </a:lnTo>
                <a:lnTo>
                  <a:pt x="67945" y="732727"/>
                </a:lnTo>
                <a:lnTo>
                  <a:pt x="19495" y="318"/>
                </a:lnTo>
                <a:lnTo>
                  <a:pt x="0" y="318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>
              <a:srgbClr val="052749"/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563BE4EC-51BE-8B89-4570-F4E017AFC58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8000" y="0"/>
            <a:ext cx="4064000" cy="6858000"/>
          </a:xfrm>
          <a:custGeom>
            <a:avLst/>
            <a:gdLst>
              <a:gd name="connsiteX0" fmla="*/ 0 w 4064000"/>
              <a:gd name="connsiteY0" fmla="*/ 0 h 6858000"/>
              <a:gd name="connsiteX1" fmla="*/ 144852 w 4064000"/>
              <a:gd name="connsiteY1" fmla="*/ 0 h 6858000"/>
              <a:gd name="connsiteX2" fmla="*/ 4064000 w 4064000"/>
              <a:gd name="connsiteY2" fmla="*/ 0 h 6858000"/>
              <a:gd name="connsiteX3" fmla="*/ 4064000 w 4064000"/>
              <a:gd name="connsiteY3" fmla="*/ 6858000 h 6858000"/>
              <a:gd name="connsiteX4" fmla="*/ 144852 w 4064000"/>
              <a:gd name="connsiteY4" fmla="*/ 6858000 h 6858000"/>
              <a:gd name="connsiteX5" fmla="*/ 0 w 4064000"/>
              <a:gd name="connsiteY5" fmla="*/ 6858000 h 6858000"/>
              <a:gd name="connsiteX6" fmla="*/ 0 w 4064000"/>
              <a:gd name="connsiteY6" fmla="*/ 6857682 h 6858000"/>
              <a:gd name="connsiteX7" fmla="*/ 97092 w 4064000"/>
              <a:gd name="connsiteY7" fmla="*/ 6857682 h 6858000"/>
              <a:gd name="connsiteX8" fmla="*/ 97092 w 4064000"/>
              <a:gd name="connsiteY8" fmla="*/ 5290630 h 6858000"/>
              <a:gd name="connsiteX9" fmla="*/ 46292 w 4064000"/>
              <a:gd name="connsiteY9" fmla="*/ 3674872 h 6858000"/>
              <a:gd name="connsiteX10" fmla="*/ 63310 w 4064000"/>
              <a:gd name="connsiteY10" fmla="*/ 2016125 h 6858000"/>
              <a:gd name="connsiteX11" fmla="*/ 90742 w 4064000"/>
              <a:gd name="connsiteY11" fmla="*/ 825119 h 6858000"/>
              <a:gd name="connsiteX12" fmla="*/ 58992 w 4064000"/>
              <a:gd name="connsiteY12" fmla="*/ 318 h 6858000"/>
              <a:gd name="connsiteX13" fmla="*/ 0 w 4064000"/>
              <a:gd name="connsiteY13" fmla="*/ 31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064000" h="6858000">
                <a:moveTo>
                  <a:pt x="0" y="0"/>
                </a:moveTo>
                <a:lnTo>
                  <a:pt x="144852" y="0"/>
                </a:lnTo>
                <a:lnTo>
                  <a:pt x="4064000" y="0"/>
                </a:lnTo>
                <a:lnTo>
                  <a:pt x="4064000" y="6858000"/>
                </a:lnTo>
                <a:lnTo>
                  <a:pt x="144852" y="6858000"/>
                </a:lnTo>
                <a:lnTo>
                  <a:pt x="0" y="6858000"/>
                </a:lnTo>
                <a:lnTo>
                  <a:pt x="0" y="6857682"/>
                </a:lnTo>
                <a:lnTo>
                  <a:pt x="97092" y="6857682"/>
                </a:lnTo>
                <a:lnTo>
                  <a:pt x="97092" y="5290630"/>
                </a:lnTo>
                <a:lnTo>
                  <a:pt x="46292" y="3674872"/>
                </a:lnTo>
                <a:lnTo>
                  <a:pt x="63310" y="2016125"/>
                </a:lnTo>
                <a:lnTo>
                  <a:pt x="90742" y="825119"/>
                </a:lnTo>
                <a:lnTo>
                  <a:pt x="58992" y="318"/>
                </a:lnTo>
                <a:lnTo>
                  <a:pt x="0" y="318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 dir="108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22" name="Tijdelijke aanduiding voor tekst 15">
            <a:extLst>
              <a:ext uri="{FF2B5EF4-FFF2-40B4-BE49-F238E27FC236}">
                <a16:creationId xmlns:a16="http://schemas.microsoft.com/office/drawing/2014/main" id="{15CE4CC1-3BB1-4E93-4C4D-554E5F25ECC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482" y="5333207"/>
            <a:ext cx="3044184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1</a:t>
            </a:r>
          </a:p>
        </p:txBody>
      </p:sp>
      <p:sp>
        <p:nvSpPr>
          <p:cNvPr id="26" name="Tijdelijke aanduiding voor tekst 15">
            <a:extLst>
              <a:ext uri="{FF2B5EF4-FFF2-40B4-BE49-F238E27FC236}">
                <a16:creationId xmlns:a16="http://schemas.microsoft.com/office/drawing/2014/main" id="{1CCEC234-948A-0440-F08D-0148D197CF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73908" y="5333207"/>
            <a:ext cx="3044184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2</a:t>
            </a:r>
          </a:p>
        </p:txBody>
      </p:sp>
      <p:sp>
        <p:nvSpPr>
          <p:cNvPr id="27" name="Tijdelijke aanduiding voor tekst 15">
            <a:extLst>
              <a:ext uri="{FF2B5EF4-FFF2-40B4-BE49-F238E27FC236}">
                <a16:creationId xmlns:a16="http://schemas.microsoft.com/office/drawing/2014/main" id="{2414F7D4-3387-BBAE-EE8E-94FB76DA78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10334" y="5333207"/>
            <a:ext cx="3044184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3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C3F74C0D-8ED2-711F-670E-6F35F7DCD0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8589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lok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18">
            <a:extLst>
              <a:ext uri="{FF2B5EF4-FFF2-40B4-BE49-F238E27FC236}">
                <a16:creationId xmlns:a16="http://schemas.microsoft.com/office/drawing/2014/main" id="{33C4D6D9-33A7-4C42-E828-24289FB7238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95999" y="0"/>
            <a:ext cx="6095998" cy="6857682"/>
          </a:xfrm>
          <a:custGeom>
            <a:avLst/>
            <a:gdLst>
              <a:gd name="connsiteX0" fmla="*/ 76198 w 6095998"/>
              <a:gd name="connsiteY0" fmla="*/ 0 h 6857682"/>
              <a:gd name="connsiteX1" fmla="*/ 6095998 w 6095998"/>
              <a:gd name="connsiteY1" fmla="*/ 0 h 6857682"/>
              <a:gd name="connsiteX2" fmla="*/ 6095998 w 6095998"/>
              <a:gd name="connsiteY2" fmla="*/ 6857682 h 6857682"/>
              <a:gd name="connsiteX3" fmla="*/ 0 w 6095998"/>
              <a:gd name="connsiteY3" fmla="*/ 6857682 h 6857682"/>
              <a:gd name="connsiteX4" fmla="*/ 0 w 6095998"/>
              <a:gd name="connsiteY4" fmla="*/ 6857238 h 6857682"/>
              <a:gd name="connsiteX5" fmla="*/ 78929 w 6095998"/>
              <a:gd name="connsiteY5" fmla="*/ 6857111 h 6857682"/>
              <a:gd name="connsiteX6" fmla="*/ 12825 w 6095998"/>
              <a:gd name="connsiteY6" fmla="*/ 5328857 h 6857682"/>
              <a:gd name="connsiteX7" fmla="*/ 114171 w 6095998"/>
              <a:gd name="connsiteY7" fmla="*/ 3425000 h 6857682"/>
              <a:gd name="connsiteX8" fmla="*/ 21017 w 6095998"/>
              <a:gd name="connsiteY8" fmla="*/ 1966214 h 6857682"/>
              <a:gd name="connsiteX9" fmla="*/ 114171 w 6095998"/>
              <a:gd name="connsiteY9" fmla="*/ 679006 h 6857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5998" h="6857682">
                <a:moveTo>
                  <a:pt x="76198" y="0"/>
                </a:moveTo>
                <a:lnTo>
                  <a:pt x="6095998" y="0"/>
                </a:lnTo>
                <a:lnTo>
                  <a:pt x="6095998" y="6857682"/>
                </a:lnTo>
                <a:lnTo>
                  <a:pt x="0" y="6857682"/>
                </a:lnTo>
                <a:lnTo>
                  <a:pt x="0" y="6857238"/>
                </a:lnTo>
                <a:lnTo>
                  <a:pt x="78929" y="6857111"/>
                </a:lnTo>
                <a:lnTo>
                  <a:pt x="12825" y="5328857"/>
                </a:lnTo>
                <a:lnTo>
                  <a:pt x="114171" y="3425000"/>
                </a:lnTo>
                <a:lnTo>
                  <a:pt x="21017" y="1966214"/>
                </a:lnTo>
                <a:lnTo>
                  <a:pt x="114171" y="679006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 dir="108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8F54CD5A-7B50-9E2A-D590-2A83EE8A40F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" y="0"/>
            <a:ext cx="6095998" cy="6857682"/>
          </a:xfrm>
          <a:custGeom>
            <a:avLst/>
            <a:gdLst>
              <a:gd name="connsiteX0" fmla="*/ 0 w 6095998"/>
              <a:gd name="connsiteY0" fmla="*/ 0 h 6857682"/>
              <a:gd name="connsiteX1" fmla="*/ 6045198 w 6095998"/>
              <a:gd name="connsiteY1" fmla="*/ 0 h 6857682"/>
              <a:gd name="connsiteX2" fmla="*/ 6083171 w 6095998"/>
              <a:gd name="connsiteY2" fmla="*/ 679006 h 6857682"/>
              <a:gd name="connsiteX3" fmla="*/ 5990017 w 6095998"/>
              <a:gd name="connsiteY3" fmla="*/ 2015808 h 6857682"/>
              <a:gd name="connsiteX4" fmla="*/ 6083171 w 6095998"/>
              <a:gd name="connsiteY4" fmla="*/ 3474593 h 6857682"/>
              <a:gd name="connsiteX5" fmla="*/ 5981825 w 6095998"/>
              <a:gd name="connsiteY5" fmla="*/ 5378450 h 6857682"/>
              <a:gd name="connsiteX6" fmla="*/ 6045135 w 6095998"/>
              <a:gd name="connsiteY6" fmla="*/ 6857365 h 6857682"/>
              <a:gd name="connsiteX7" fmla="*/ 6095998 w 6095998"/>
              <a:gd name="connsiteY7" fmla="*/ 6857238 h 6857682"/>
              <a:gd name="connsiteX8" fmla="*/ 6095998 w 6095998"/>
              <a:gd name="connsiteY8" fmla="*/ 6857682 h 6857682"/>
              <a:gd name="connsiteX9" fmla="*/ 0 w 6095998"/>
              <a:gd name="connsiteY9" fmla="*/ 6857682 h 6857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5998" h="6857682">
                <a:moveTo>
                  <a:pt x="0" y="0"/>
                </a:moveTo>
                <a:lnTo>
                  <a:pt x="6045198" y="0"/>
                </a:lnTo>
                <a:lnTo>
                  <a:pt x="6083171" y="679006"/>
                </a:lnTo>
                <a:lnTo>
                  <a:pt x="5990017" y="2015808"/>
                </a:lnTo>
                <a:lnTo>
                  <a:pt x="6083171" y="3474593"/>
                </a:lnTo>
                <a:lnTo>
                  <a:pt x="5981825" y="5378450"/>
                </a:lnTo>
                <a:lnTo>
                  <a:pt x="6045135" y="6857365"/>
                </a:lnTo>
                <a:lnTo>
                  <a:pt x="6095998" y="6857238"/>
                </a:lnTo>
                <a:lnTo>
                  <a:pt x="6095998" y="6857682"/>
                </a:lnTo>
                <a:lnTo>
                  <a:pt x="0" y="6857682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>
              <a:srgbClr val="052749">
                <a:alpha val="49804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04FEFEEA-8B63-5CBB-B49F-6FAD087FBA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ijdelijke aanduiding voor tekst 15">
            <a:extLst>
              <a:ext uri="{FF2B5EF4-FFF2-40B4-BE49-F238E27FC236}">
                <a16:creationId xmlns:a16="http://schemas.microsoft.com/office/drawing/2014/main" id="{C520DD44-1FB4-7E3D-B271-8C22BF3E1EA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641484" y="5333207"/>
            <a:ext cx="5112418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2</a:t>
            </a:r>
          </a:p>
        </p:txBody>
      </p:sp>
      <p:sp>
        <p:nvSpPr>
          <p:cNvPr id="15" name="Tijdelijke aanduiding voor tekst 15">
            <a:extLst>
              <a:ext uri="{FF2B5EF4-FFF2-40B4-BE49-F238E27FC236}">
                <a16:creationId xmlns:a16="http://schemas.microsoft.com/office/drawing/2014/main" id="{655DD500-D329-1F6C-7ADE-A023DC37D4C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482" y="5333207"/>
            <a:ext cx="5112418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1</a:t>
            </a:r>
          </a:p>
        </p:txBody>
      </p:sp>
    </p:spTree>
    <p:extLst>
      <p:ext uri="{BB962C8B-B14F-4D97-AF65-F5344CB8AC3E}">
        <p14:creationId xmlns:p14="http://schemas.microsoft.com/office/powerpoint/2010/main" val="16162904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derdelen met ic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EDDDF81-F60D-4A2B-45D4-06B2D77750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jdelijke aanduiding voor afbeelding 15">
            <a:extLst>
              <a:ext uri="{FF2B5EF4-FFF2-40B4-BE49-F238E27FC236}">
                <a16:creationId xmlns:a16="http://schemas.microsoft.com/office/drawing/2014/main" id="{D57E0F8F-0A61-1451-6D57-B9F54AF2F914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0" y="0"/>
            <a:ext cx="12192000" cy="4559268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5" name="Tijdelijke aanduiding voor tekst 15">
            <a:extLst>
              <a:ext uri="{FF2B5EF4-FFF2-40B4-BE49-F238E27FC236}">
                <a16:creationId xmlns:a16="http://schemas.microsoft.com/office/drawing/2014/main" id="{B6961497-A842-26A7-CBD1-2AE586FF4D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3222257"/>
            <a:ext cx="3199999" cy="2771742"/>
          </a:xfrm>
          <a:prstGeom prst="roundRect">
            <a:avLst>
              <a:gd name="adj" fmla="val 7228"/>
            </a:avLst>
          </a:prstGeom>
          <a:solidFill>
            <a:schemeClr val="bg1"/>
          </a:solidFill>
          <a:effectLst>
            <a:outerShdw blurRad="127000" dist="63500" dir="5400000" algn="ctr" rotWithShape="0">
              <a:srgbClr val="000000">
                <a:alpha val="50000"/>
              </a:srgbClr>
            </a:outerShdw>
          </a:effectLst>
        </p:spPr>
        <p:txBody>
          <a:bodyPr wrap="square" lIns="252000" tIns="1620000" rIns="252000" bIns="216000" anchor="b">
            <a:spAutoFit/>
          </a:bodyPr>
          <a:lstStyle>
            <a:lvl1pPr marL="0" indent="0" algn="ctr">
              <a:spcAft>
                <a:spcPts val="120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accent5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17" name="Tijdelijke aanduiding voor afbeelding 15">
            <a:extLst>
              <a:ext uri="{FF2B5EF4-FFF2-40B4-BE49-F238E27FC236}">
                <a16:creationId xmlns:a16="http://schemas.microsoft.com/office/drawing/2014/main" id="{50CED14D-7424-A87F-4914-9D5354F951B8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828798" y="3445111"/>
            <a:ext cx="1270402" cy="1270402"/>
          </a:xfrm>
          <a:noFill/>
        </p:spPr>
        <p:txBody>
          <a:bodyPr wrap="square"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i="1"/>
            </a:lvl1pPr>
          </a:lstStyle>
          <a:p>
            <a:r>
              <a:rPr lang="nl-NL" dirty="0"/>
              <a:t>Klik op onderstaand icoon om een AFAS icoon in te voegen</a:t>
            </a:r>
          </a:p>
        </p:txBody>
      </p:sp>
      <p:sp>
        <p:nvSpPr>
          <p:cNvPr id="22" name="Tijdelijke aanduiding voor tekst 15">
            <a:extLst>
              <a:ext uri="{FF2B5EF4-FFF2-40B4-BE49-F238E27FC236}">
                <a16:creationId xmlns:a16="http://schemas.microsoft.com/office/drawing/2014/main" id="{5B28481B-C8C4-6D3F-00E5-EEFF4707E0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96000" y="3222257"/>
            <a:ext cx="3199999" cy="2771742"/>
          </a:xfrm>
          <a:prstGeom prst="roundRect">
            <a:avLst>
              <a:gd name="adj" fmla="val 7228"/>
            </a:avLst>
          </a:prstGeom>
          <a:solidFill>
            <a:schemeClr val="bg1"/>
          </a:solidFill>
          <a:effectLst>
            <a:outerShdw blurRad="127000" dist="63500" dir="5400000" algn="ctr" rotWithShape="0">
              <a:srgbClr val="000000">
                <a:alpha val="50000"/>
              </a:srgbClr>
            </a:outerShdw>
          </a:effectLst>
        </p:spPr>
        <p:txBody>
          <a:bodyPr wrap="square" lIns="252000" tIns="1620000" rIns="252000" bIns="216000" anchor="b">
            <a:spAutoFit/>
          </a:bodyPr>
          <a:lstStyle>
            <a:lvl1pPr marL="0" indent="0" algn="ctr">
              <a:spcAft>
                <a:spcPts val="120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accent5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23" name="Tijdelijke aanduiding voor afbeelding 15">
            <a:extLst>
              <a:ext uri="{FF2B5EF4-FFF2-40B4-BE49-F238E27FC236}">
                <a16:creationId xmlns:a16="http://schemas.microsoft.com/office/drawing/2014/main" id="{01771580-B8AC-7704-A2D8-C772A36B97EC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460798" y="3445111"/>
            <a:ext cx="1270402" cy="1270402"/>
          </a:xfrm>
          <a:noFill/>
        </p:spPr>
        <p:txBody>
          <a:bodyPr wrap="square"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i="1"/>
            </a:lvl1pPr>
          </a:lstStyle>
          <a:p>
            <a:r>
              <a:rPr lang="nl-NL" dirty="0"/>
              <a:t>Klik op onderstaand icoon om een AFAS icoon in te voegen</a:t>
            </a:r>
          </a:p>
        </p:txBody>
      </p:sp>
      <p:sp>
        <p:nvSpPr>
          <p:cNvPr id="24" name="Tijdelijke aanduiding voor tekst 15">
            <a:extLst>
              <a:ext uri="{FF2B5EF4-FFF2-40B4-BE49-F238E27FC236}">
                <a16:creationId xmlns:a16="http://schemas.microsoft.com/office/drawing/2014/main" id="{D830865C-7864-9CC8-EFE0-15F62396BBA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128000" y="3222257"/>
            <a:ext cx="3199999" cy="2771742"/>
          </a:xfrm>
          <a:prstGeom prst="roundRect">
            <a:avLst>
              <a:gd name="adj" fmla="val 7228"/>
            </a:avLst>
          </a:prstGeom>
          <a:solidFill>
            <a:schemeClr val="bg1"/>
          </a:solidFill>
          <a:effectLst>
            <a:outerShdw blurRad="127000" dist="63500" dir="5400000" algn="ctr" rotWithShape="0">
              <a:srgbClr val="000000">
                <a:alpha val="50000"/>
              </a:srgbClr>
            </a:outerShdw>
          </a:effectLst>
        </p:spPr>
        <p:txBody>
          <a:bodyPr wrap="square" lIns="252000" tIns="1620000" rIns="252000" bIns="216000" anchor="b">
            <a:spAutoFit/>
          </a:bodyPr>
          <a:lstStyle>
            <a:lvl1pPr marL="0" indent="0" algn="ctr">
              <a:spcAft>
                <a:spcPts val="120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accent5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30" name="Tijdelijke aanduiding voor afbeelding 15">
            <a:extLst>
              <a:ext uri="{FF2B5EF4-FFF2-40B4-BE49-F238E27FC236}">
                <a16:creationId xmlns:a16="http://schemas.microsoft.com/office/drawing/2014/main" id="{76089F8F-3A3A-8833-ACB8-D342E5A7D0E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92798" y="3445111"/>
            <a:ext cx="1270402" cy="1270402"/>
          </a:xfrm>
          <a:noFill/>
        </p:spPr>
        <p:txBody>
          <a:bodyPr wrap="square"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i="1"/>
            </a:lvl1pPr>
          </a:lstStyle>
          <a:p>
            <a:r>
              <a:rPr lang="nl-NL" dirty="0"/>
              <a:t>Klik op onderstaand icoon om een AFAS icoon in te voegen</a:t>
            </a:r>
          </a:p>
        </p:txBody>
      </p:sp>
    </p:spTree>
    <p:extLst>
      <p:ext uri="{BB962C8B-B14F-4D97-AF65-F5344CB8AC3E}">
        <p14:creationId xmlns:p14="http://schemas.microsoft.com/office/powerpoint/2010/main" val="4465088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-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15">
            <a:extLst>
              <a:ext uri="{FF2B5EF4-FFF2-40B4-BE49-F238E27FC236}">
                <a16:creationId xmlns:a16="http://schemas.microsoft.com/office/drawing/2014/main" id="{30D29438-11EC-651D-4AE0-C303A816F59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5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2108942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AS Blauw -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C54B1E63-B47E-DAD0-47E4-64AC6F6E94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jdelijke aanduiding voor tekst 15">
            <a:extLst>
              <a:ext uri="{FF2B5EF4-FFF2-40B4-BE49-F238E27FC236}">
                <a16:creationId xmlns:a16="http://schemas.microsoft.com/office/drawing/2014/main" id="{0B0F321C-D2B0-9F52-1C1C-935901A016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637212"/>
            <a:ext cx="12192000" cy="1583575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32436636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AS Blauw - Veel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35C19BC4-3A64-DD42-B53A-B63C032670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5E088558-CFAF-55AC-46C4-ED6E0E6FB306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64000" y="1825625"/>
            <a:ext cx="10463999" cy="4168374"/>
          </a:xfrm>
        </p:spPr>
        <p:txBody>
          <a:bodyPr vert="horz"/>
          <a:lstStyle>
            <a:lvl1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2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spcAft>
                <a:spcPts val="600"/>
              </a:spcAft>
              <a:defRPr sz="28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8pPr>
            <a:lvl9pPr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Quote</a:t>
            </a:r>
          </a:p>
          <a:p>
            <a:pPr lvl="8"/>
            <a:r>
              <a:rPr lang="nl-NL" noProof="0" dirty="0"/>
              <a:t>Bron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FB82EB4F-8EB9-7810-5045-03315595F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000" y="864001"/>
            <a:ext cx="10463999" cy="5323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 dirty="0"/>
              <a:t>Plaats je titel hier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39720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boven (2/3) - Tekst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BB6B63B-2664-67D0-1911-E187E42F4B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CBFEAE71-07DA-3031-A22A-086B809D0A5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-1"/>
            <a:ext cx="12192000" cy="4757483"/>
          </a:xfrm>
          <a:custGeom>
            <a:avLst/>
            <a:gdLst>
              <a:gd name="connsiteX0" fmla="*/ 0 w 12192000"/>
              <a:gd name="connsiteY0" fmla="*/ 0 h 4757483"/>
              <a:gd name="connsiteX1" fmla="*/ 12192000 w 12192000"/>
              <a:gd name="connsiteY1" fmla="*/ 0 h 4757483"/>
              <a:gd name="connsiteX2" fmla="*/ 12192000 w 12192000"/>
              <a:gd name="connsiteY2" fmla="*/ 4757483 h 4757483"/>
              <a:gd name="connsiteX3" fmla="*/ 10799635 w 12192000"/>
              <a:gd name="connsiteY3" fmla="*/ 4553521 h 4757483"/>
              <a:gd name="connsiteX4" fmla="*/ 9038717 w 12192000"/>
              <a:gd name="connsiteY4" fmla="*/ 4695634 h 4757483"/>
              <a:gd name="connsiteX5" fmla="*/ 7154037 w 12192000"/>
              <a:gd name="connsiteY5" fmla="*/ 4553521 h 4757483"/>
              <a:gd name="connsiteX6" fmla="*/ 5582793 w 12192000"/>
              <a:gd name="connsiteY6" fmla="*/ 4695634 h 4757483"/>
              <a:gd name="connsiteX7" fmla="*/ 3574606 w 12192000"/>
              <a:gd name="connsiteY7" fmla="*/ 4498149 h 4757483"/>
              <a:gd name="connsiteX8" fmla="*/ 2441131 w 12192000"/>
              <a:gd name="connsiteY8" fmla="*/ 4623117 h 4757483"/>
              <a:gd name="connsiteX9" fmla="*/ 1000125 w 12192000"/>
              <a:gd name="connsiteY9" fmla="*/ 4553521 h 4757483"/>
              <a:gd name="connsiteX10" fmla="*/ 0 w 12192000"/>
              <a:gd name="connsiteY10" fmla="*/ 4601209 h 4757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4757483">
                <a:moveTo>
                  <a:pt x="0" y="0"/>
                </a:moveTo>
                <a:lnTo>
                  <a:pt x="12192000" y="0"/>
                </a:lnTo>
                <a:lnTo>
                  <a:pt x="12192000" y="4757483"/>
                </a:lnTo>
                <a:lnTo>
                  <a:pt x="10799635" y="4553521"/>
                </a:lnTo>
                <a:lnTo>
                  <a:pt x="9038717" y="4695634"/>
                </a:lnTo>
                <a:lnTo>
                  <a:pt x="7154037" y="4553521"/>
                </a:lnTo>
                <a:lnTo>
                  <a:pt x="5582793" y="4695634"/>
                </a:lnTo>
                <a:lnTo>
                  <a:pt x="3574606" y="4498149"/>
                </a:lnTo>
                <a:lnTo>
                  <a:pt x="2441131" y="4623117"/>
                </a:lnTo>
                <a:lnTo>
                  <a:pt x="1000125" y="4553521"/>
                </a:lnTo>
                <a:lnTo>
                  <a:pt x="0" y="4601209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 dir="54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C59846C1-CB27-686A-0154-FFC88F9399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887217"/>
            <a:ext cx="12192000" cy="1798263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26700842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boven - Tekst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BB6B63B-2664-67D0-1911-E187E42F4B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949013EE-2584-7D6D-F838-0B34A56B19F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3429254"/>
          </a:xfrm>
          <a:custGeom>
            <a:avLst/>
            <a:gdLst>
              <a:gd name="connsiteX0" fmla="*/ 8224666 w 12192000"/>
              <a:gd name="connsiteY0" fmla="*/ 7616972 h 10512572"/>
              <a:gd name="connsiteX1" fmla="*/ 10896600 w 12192000"/>
              <a:gd name="connsiteY1" fmla="*/ 7616972 h 10512572"/>
              <a:gd name="connsiteX2" fmla="*/ 10896600 w 12192000"/>
              <a:gd name="connsiteY2" fmla="*/ 10512572 h 10512572"/>
              <a:gd name="connsiteX3" fmla="*/ 8224666 w 12192000"/>
              <a:gd name="connsiteY3" fmla="*/ 10512572 h 10512572"/>
              <a:gd name="connsiteX4" fmla="*/ 0 w 12192000"/>
              <a:gd name="connsiteY4" fmla="*/ 0 h 10512572"/>
              <a:gd name="connsiteX5" fmla="*/ 12192000 w 12192000"/>
              <a:gd name="connsiteY5" fmla="*/ 0 h 10512572"/>
              <a:gd name="connsiteX6" fmla="*/ 12192000 w 12192000"/>
              <a:gd name="connsiteY6" fmla="*/ 3209347 h 10512572"/>
              <a:gd name="connsiteX7" fmla="*/ 10753378 w 12192000"/>
              <a:gd name="connsiteY7" fmla="*/ 3429254 h 10512572"/>
              <a:gd name="connsiteX8" fmla="*/ 9333451 w 12192000"/>
              <a:gd name="connsiteY8" fmla="*/ 3098991 h 10512572"/>
              <a:gd name="connsiteX9" fmla="*/ 7531862 w 12192000"/>
              <a:gd name="connsiteY9" fmla="*/ 3209735 h 10512572"/>
              <a:gd name="connsiteX10" fmla="*/ 6105138 w 12192000"/>
              <a:gd name="connsiteY10" fmla="*/ 3379026 h 10512572"/>
              <a:gd name="connsiteX11" fmla="*/ 4786408 w 12192000"/>
              <a:gd name="connsiteY11" fmla="*/ 3331401 h 10512572"/>
              <a:gd name="connsiteX12" fmla="*/ 3255757 w 12192000"/>
              <a:gd name="connsiteY12" fmla="*/ 3165602 h 10512572"/>
              <a:gd name="connsiteX13" fmla="*/ 1240594 w 12192000"/>
              <a:gd name="connsiteY13" fmla="*/ 2837625 h 10512572"/>
              <a:gd name="connsiteX14" fmla="*/ 1219567 w 12192000"/>
              <a:gd name="connsiteY14" fmla="*/ 2843086 h 10512572"/>
              <a:gd name="connsiteX15" fmla="*/ 0 w 12192000"/>
              <a:gd name="connsiteY15" fmla="*/ 3205417 h 10512572"/>
              <a:gd name="connsiteX0" fmla="*/ 8224666 w 12192000"/>
              <a:gd name="connsiteY0" fmla="*/ 10512572 h 10512572"/>
              <a:gd name="connsiteX1" fmla="*/ 10896600 w 12192000"/>
              <a:gd name="connsiteY1" fmla="*/ 7616972 h 10512572"/>
              <a:gd name="connsiteX2" fmla="*/ 10896600 w 12192000"/>
              <a:gd name="connsiteY2" fmla="*/ 10512572 h 10512572"/>
              <a:gd name="connsiteX3" fmla="*/ 8224666 w 12192000"/>
              <a:gd name="connsiteY3" fmla="*/ 10512572 h 10512572"/>
              <a:gd name="connsiteX4" fmla="*/ 0 w 12192000"/>
              <a:gd name="connsiteY4" fmla="*/ 0 h 10512572"/>
              <a:gd name="connsiteX5" fmla="*/ 12192000 w 12192000"/>
              <a:gd name="connsiteY5" fmla="*/ 0 h 10512572"/>
              <a:gd name="connsiteX6" fmla="*/ 12192000 w 12192000"/>
              <a:gd name="connsiteY6" fmla="*/ 3209347 h 10512572"/>
              <a:gd name="connsiteX7" fmla="*/ 10753378 w 12192000"/>
              <a:gd name="connsiteY7" fmla="*/ 3429254 h 10512572"/>
              <a:gd name="connsiteX8" fmla="*/ 9333451 w 12192000"/>
              <a:gd name="connsiteY8" fmla="*/ 3098991 h 10512572"/>
              <a:gd name="connsiteX9" fmla="*/ 7531862 w 12192000"/>
              <a:gd name="connsiteY9" fmla="*/ 3209735 h 10512572"/>
              <a:gd name="connsiteX10" fmla="*/ 6105138 w 12192000"/>
              <a:gd name="connsiteY10" fmla="*/ 3379026 h 10512572"/>
              <a:gd name="connsiteX11" fmla="*/ 4786408 w 12192000"/>
              <a:gd name="connsiteY11" fmla="*/ 3331401 h 10512572"/>
              <a:gd name="connsiteX12" fmla="*/ 3255757 w 12192000"/>
              <a:gd name="connsiteY12" fmla="*/ 3165602 h 10512572"/>
              <a:gd name="connsiteX13" fmla="*/ 1240594 w 12192000"/>
              <a:gd name="connsiteY13" fmla="*/ 2837625 h 10512572"/>
              <a:gd name="connsiteX14" fmla="*/ 1219567 w 12192000"/>
              <a:gd name="connsiteY14" fmla="*/ 2843086 h 10512572"/>
              <a:gd name="connsiteX15" fmla="*/ 0 w 12192000"/>
              <a:gd name="connsiteY15" fmla="*/ 3205417 h 10512572"/>
              <a:gd name="connsiteX16" fmla="*/ 0 w 12192000"/>
              <a:gd name="connsiteY16" fmla="*/ 0 h 10512572"/>
              <a:gd name="connsiteX0" fmla="*/ 8224666 w 12192000"/>
              <a:gd name="connsiteY0" fmla="*/ 10512572 h 10512572"/>
              <a:gd name="connsiteX1" fmla="*/ 10896600 w 12192000"/>
              <a:gd name="connsiteY1" fmla="*/ 10512572 h 10512572"/>
              <a:gd name="connsiteX2" fmla="*/ 8224666 w 12192000"/>
              <a:gd name="connsiteY2" fmla="*/ 10512572 h 10512572"/>
              <a:gd name="connsiteX3" fmla="*/ 0 w 12192000"/>
              <a:gd name="connsiteY3" fmla="*/ 0 h 10512572"/>
              <a:gd name="connsiteX4" fmla="*/ 12192000 w 12192000"/>
              <a:gd name="connsiteY4" fmla="*/ 0 h 10512572"/>
              <a:gd name="connsiteX5" fmla="*/ 12192000 w 12192000"/>
              <a:gd name="connsiteY5" fmla="*/ 3209347 h 10512572"/>
              <a:gd name="connsiteX6" fmla="*/ 10753378 w 12192000"/>
              <a:gd name="connsiteY6" fmla="*/ 3429254 h 10512572"/>
              <a:gd name="connsiteX7" fmla="*/ 9333451 w 12192000"/>
              <a:gd name="connsiteY7" fmla="*/ 3098991 h 10512572"/>
              <a:gd name="connsiteX8" fmla="*/ 7531862 w 12192000"/>
              <a:gd name="connsiteY8" fmla="*/ 3209735 h 10512572"/>
              <a:gd name="connsiteX9" fmla="*/ 6105138 w 12192000"/>
              <a:gd name="connsiteY9" fmla="*/ 3379026 h 10512572"/>
              <a:gd name="connsiteX10" fmla="*/ 4786408 w 12192000"/>
              <a:gd name="connsiteY10" fmla="*/ 3331401 h 10512572"/>
              <a:gd name="connsiteX11" fmla="*/ 3255757 w 12192000"/>
              <a:gd name="connsiteY11" fmla="*/ 3165602 h 10512572"/>
              <a:gd name="connsiteX12" fmla="*/ 1240594 w 12192000"/>
              <a:gd name="connsiteY12" fmla="*/ 2837625 h 10512572"/>
              <a:gd name="connsiteX13" fmla="*/ 1219567 w 12192000"/>
              <a:gd name="connsiteY13" fmla="*/ 2843086 h 10512572"/>
              <a:gd name="connsiteX14" fmla="*/ 0 w 12192000"/>
              <a:gd name="connsiteY14" fmla="*/ 3205417 h 10512572"/>
              <a:gd name="connsiteX15" fmla="*/ 0 w 12192000"/>
              <a:gd name="connsiteY15" fmla="*/ 0 h 10512572"/>
              <a:gd name="connsiteX0" fmla="*/ 0 w 12192000"/>
              <a:gd name="connsiteY0" fmla="*/ 0 h 3429254"/>
              <a:gd name="connsiteX1" fmla="*/ 12192000 w 12192000"/>
              <a:gd name="connsiteY1" fmla="*/ 0 h 3429254"/>
              <a:gd name="connsiteX2" fmla="*/ 12192000 w 12192000"/>
              <a:gd name="connsiteY2" fmla="*/ 3209347 h 3429254"/>
              <a:gd name="connsiteX3" fmla="*/ 10753378 w 12192000"/>
              <a:gd name="connsiteY3" fmla="*/ 3429254 h 3429254"/>
              <a:gd name="connsiteX4" fmla="*/ 9333451 w 12192000"/>
              <a:gd name="connsiteY4" fmla="*/ 3098991 h 3429254"/>
              <a:gd name="connsiteX5" fmla="*/ 7531862 w 12192000"/>
              <a:gd name="connsiteY5" fmla="*/ 3209735 h 3429254"/>
              <a:gd name="connsiteX6" fmla="*/ 6105138 w 12192000"/>
              <a:gd name="connsiteY6" fmla="*/ 3379026 h 3429254"/>
              <a:gd name="connsiteX7" fmla="*/ 4786408 w 12192000"/>
              <a:gd name="connsiteY7" fmla="*/ 3331401 h 3429254"/>
              <a:gd name="connsiteX8" fmla="*/ 3255757 w 12192000"/>
              <a:gd name="connsiteY8" fmla="*/ 3165602 h 3429254"/>
              <a:gd name="connsiteX9" fmla="*/ 1240594 w 12192000"/>
              <a:gd name="connsiteY9" fmla="*/ 2837625 h 3429254"/>
              <a:gd name="connsiteX10" fmla="*/ 1219567 w 12192000"/>
              <a:gd name="connsiteY10" fmla="*/ 2843086 h 3429254"/>
              <a:gd name="connsiteX11" fmla="*/ 0 w 12192000"/>
              <a:gd name="connsiteY11" fmla="*/ 3205417 h 3429254"/>
              <a:gd name="connsiteX12" fmla="*/ 0 w 12192000"/>
              <a:gd name="connsiteY12" fmla="*/ 0 h 3429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3429254">
                <a:moveTo>
                  <a:pt x="0" y="0"/>
                </a:moveTo>
                <a:lnTo>
                  <a:pt x="12192000" y="0"/>
                </a:lnTo>
                <a:lnTo>
                  <a:pt x="12192000" y="3209347"/>
                </a:lnTo>
                <a:lnTo>
                  <a:pt x="10753378" y="3429254"/>
                </a:lnTo>
                <a:lnTo>
                  <a:pt x="9333451" y="3098991"/>
                </a:lnTo>
                <a:lnTo>
                  <a:pt x="7531862" y="3209735"/>
                </a:lnTo>
                <a:lnTo>
                  <a:pt x="6105138" y="3379026"/>
                </a:lnTo>
                <a:lnTo>
                  <a:pt x="4786408" y="3331401"/>
                </a:lnTo>
                <a:lnTo>
                  <a:pt x="3255757" y="3165602"/>
                </a:lnTo>
                <a:lnTo>
                  <a:pt x="1240594" y="2837625"/>
                </a:lnTo>
                <a:lnTo>
                  <a:pt x="1219567" y="2843086"/>
                </a:lnTo>
                <a:lnTo>
                  <a:pt x="0" y="320541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 dir="54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C59846C1-CB27-686A-0154-FFC88F9399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186612"/>
            <a:ext cx="12192000" cy="1798263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26069273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stel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jdelijke aanduiding voor afbeelding 15">
            <a:extLst>
              <a:ext uri="{FF2B5EF4-FFF2-40B4-BE49-F238E27FC236}">
                <a16:creationId xmlns:a16="http://schemas.microsoft.com/office/drawing/2014/main" id="{9FC5813F-40E6-B21D-4647-704881CE63F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lIns="6516000" bIns="0" anchor="ctr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  <a:br>
              <a:rPr lang="nl-NL" dirty="0"/>
            </a:br>
            <a:r>
              <a:rPr lang="nl-NL" dirty="0"/>
              <a:t>(Geschikt voor de nieuwe profielfoto)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F40E9720-839B-4C92-9DF6-1680650D97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4000" y="1800225"/>
            <a:ext cx="4796825" cy="739257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ctr">
              <a:buNone/>
              <a:defRPr sz="54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Voornaam</a:t>
            </a:r>
          </a:p>
        </p:txBody>
      </p:sp>
      <p:sp>
        <p:nvSpPr>
          <p:cNvPr id="7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3560760"/>
            <a:ext cx="4796825" cy="101124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ctr">
              <a:buNone/>
              <a:defRPr sz="24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 of iets over jezelf</a:t>
            </a:r>
          </a:p>
        </p:txBody>
      </p:sp>
      <p:sp>
        <p:nvSpPr>
          <p:cNvPr id="9" name="Tijdelijke aanduiding voor tekst 5">
            <a:extLst>
              <a:ext uri="{FF2B5EF4-FFF2-40B4-BE49-F238E27FC236}">
                <a16:creationId xmlns:a16="http://schemas.microsoft.com/office/drawing/2014/main" id="{E628780C-AE76-4259-9A77-FDC011CA55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2553996"/>
            <a:ext cx="4796825" cy="726762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ctr">
              <a:buNone/>
              <a:defRPr sz="44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Achternaam</a:t>
            </a:r>
          </a:p>
        </p:txBody>
      </p:sp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303C454C-418A-4C9C-B62E-7972F1183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25572852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links - Teks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FA85F27-8417-B3BC-4594-0AD219CDE4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2" name="Tijdelijke aanduiding voor afbeelding 21">
            <a:extLst>
              <a:ext uri="{FF2B5EF4-FFF2-40B4-BE49-F238E27FC236}">
                <a16:creationId xmlns:a16="http://schemas.microsoft.com/office/drawing/2014/main" id="{133D82CA-3A35-6051-C207-07CCDEA7D37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" y="572"/>
            <a:ext cx="6011099" cy="6857428"/>
          </a:xfrm>
          <a:custGeom>
            <a:avLst/>
            <a:gdLst>
              <a:gd name="connsiteX0" fmla="*/ 0 w 8619859"/>
              <a:gd name="connsiteY0" fmla="*/ 7898828 h 9079928"/>
              <a:gd name="connsiteX1" fmla="*/ 3396156 w 8619859"/>
              <a:gd name="connsiteY1" fmla="*/ 7898828 h 9079928"/>
              <a:gd name="connsiteX2" fmla="*/ 3396156 w 8619859"/>
              <a:gd name="connsiteY2" fmla="*/ 9079928 h 9079928"/>
              <a:gd name="connsiteX3" fmla="*/ 0 w 8619859"/>
              <a:gd name="connsiteY3" fmla="*/ 9079928 h 9079928"/>
              <a:gd name="connsiteX4" fmla="*/ 2608760 w 8619859"/>
              <a:gd name="connsiteY4" fmla="*/ 0 h 9079928"/>
              <a:gd name="connsiteX5" fmla="*/ 8581854 w 8619859"/>
              <a:gd name="connsiteY5" fmla="*/ 0 h 9079928"/>
              <a:gd name="connsiteX6" fmla="*/ 8619859 w 8619859"/>
              <a:gd name="connsiteY6" fmla="*/ 678751 h 9079928"/>
              <a:gd name="connsiteX7" fmla="*/ 8514004 w 8619859"/>
              <a:gd name="connsiteY7" fmla="*/ 2015553 h 9079928"/>
              <a:gd name="connsiteX8" fmla="*/ 8619859 w 8619859"/>
              <a:gd name="connsiteY8" fmla="*/ 3474339 h 9079928"/>
              <a:gd name="connsiteX9" fmla="*/ 8499399 w 8619859"/>
              <a:gd name="connsiteY9" fmla="*/ 5378132 h 9079928"/>
              <a:gd name="connsiteX10" fmla="*/ 8581822 w 8619859"/>
              <a:gd name="connsiteY10" fmla="*/ 6857428 h 9079928"/>
              <a:gd name="connsiteX11" fmla="*/ 2608760 w 8619859"/>
              <a:gd name="connsiteY11" fmla="*/ 6857428 h 9079928"/>
              <a:gd name="connsiteX0" fmla="*/ 0 w 8619859"/>
              <a:gd name="connsiteY0" fmla="*/ 7898828 h 9079928"/>
              <a:gd name="connsiteX1" fmla="*/ 3396156 w 8619859"/>
              <a:gd name="connsiteY1" fmla="*/ 9079928 h 9079928"/>
              <a:gd name="connsiteX2" fmla="*/ 0 w 8619859"/>
              <a:gd name="connsiteY2" fmla="*/ 9079928 h 9079928"/>
              <a:gd name="connsiteX3" fmla="*/ 0 w 8619859"/>
              <a:gd name="connsiteY3" fmla="*/ 7898828 h 9079928"/>
              <a:gd name="connsiteX4" fmla="*/ 2608760 w 8619859"/>
              <a:gd name="connsiteY4" fmla="*/ 0 h 9079928"/>
              <a:gd name="connsiteX5" fmla="*/ 8581854 w 8619859"/>
              <a:gd name="connsiteY5" fmla="*/ 0 h 9079928"/>
              <a:gd name="connsiteX6" fmla="*/ 8619859 w 8619859"/>
              <a:gd name="connsiteY6" fmla="*/ 678751 h 9079928"/>
              <a:gd name="connsiteX7" fmla="*/ 8514004 w 8619859"/>
              <a:gd name="connsiteY7" fmla="*/ 2015553 h 9079928"/>
              <a:gd name="connsiteX8" fmla="*/ 8619859 w 8619859"/>
              <a:gd name="connsiteY8" fmla="*/ 3474339 h 9079928"/>
              <a:gd name="connsiteX9" fmla="*/ 8499399 w 8619859"/>
              <a:gd name="connsiteY9" fmla="*/ 5378132 h 9079928"/>
              <a:gd name="connsiteX10" fmla="*/ 8581822 w 8619859"/>
              <a:gd name="connsiteY10" fmla="*/ 6857428 h 9079928"/>
              <a:gd name="connsiteX11" fmla="*/ 2608760 w 8619859"/>
              <a:gd name="connsiteY11" fmla="*/ 6857428 h 9079928"/>
              <a:gd name="connsiteX12" fmla="*/ 2608760 w 8619859"/>
              <a:gd name="connsiteY12" fmla="*/ 0 h 9079928"/>
              <a:gd name="connsiteX0" fmla="*/ 0 w 8619859"/>
              <a:gd name="connsiteY0" fmla="*/ 7898828 h 9079928"/>
              <a:gd name="connsiteX1" fmla="*/ 0 w 8619859"/>
              <a:gd name="connsiteY1" fmla="*/ 9079928 h 9079928"/>
              <a:gd name="connsiteX2" fmla="*/ 0 w 8619859"/>
              <a:gd name="connsiteY2" fmla="*/ 7898828 h 9079928"/>
              <a:gd name="connsiteX3" fmla="*/ 2608760 w 8619859"/>
              <a:gd name="connsiteY3" fmla="*/ 0 h 9079928"/>
              <a:gd name="connsiteX4" fmla="*/ 8581854 w 8619859"/>
              <a:gd name="connsiteY4" fmla="*/ 0 h 9079928"/>
              <a:gd name="connsiteX5" fmla="*/ 8619859 w 8619859"/>
              <a:gd name="connsiteY5" fmla="*/ 678751 h 9079928"/>
              <a:gd name="connsiteX6" fmla="*/ 8514004 w 8619859"/>
              <a:gd name="connsiteY6" fmla="*/ 2015553 h 9079928"/>
              <a:gd name="connsiteX7" fmla="*/ 8619859 w 8619859"/>
              <a:gd name="connsiteY7" fmla="*/ 3474339 h 9079928"/>
              <a:gd name="connsiteX8" fmla="*/ 8499399 w 8619859"/>
              <a:gd name="connsiteY8" fmla="*/ 5378132 h 9079928"/>
              <a:gd name="connsiteX9" fmla="*/ 8581822 w 8619859"/>
              <a:gd name="connsiteY9" fmla="*/ 6857428 h 9079928"/>
              <a:gd name="connsiteX10" fmla="*/ 2608760 w 8619859"/>
              <a:gd name="connsiteY10" fmla="*/ 6857428 h 9079928"/>
              <a:gd name="connsiteX11" fmla="*/ 2608760 w 8619859"/>
              <a:gd name="connsiteY11" fmla="*/ 0 h 9079928"/>
              <a:gd name="connsiteX0" fmla="*/ 0 w 6011099"/>
              <a:gd name="connsiteY0" fmla="*/ 0 h 6857428"/>
              <a:gd name="connsiteX1" fmla="*/ 5973094 w 6011099"/>
              <a:gd name="connsiteY1" fmla="*/ 0 h 6857428"/>
              <a:gd name="connsiteX2" fmla="*/ 6011099 w 6011099"/>
              <a:gd name="connsiteY2" fmla="*/ 678751 h 6857428"/>
              <a:gd name="connsiteX3" fmla="*/ 5905244 w 6011099"/>
              <a:gd name="connsiteY3" fmla="*/ 2015553 h 6857428"/>
              <a:gd name="connsiteX4" fmla="*/ 6011099 w 6011099"/>
              <a:gd name="connsiteY4" fmla="*/ 3474339 h 6857428"/>
              <a:gd name="connsiteX5" fmla="*/ 5890639 w 6011099"/>
              <a:gd name="connsiteY5" fmla="*/ 5378132 h 6857428"/>
              <a:gd name="connsiteX6" fmla="*/ 5973062 w 6011099"/>
              <a:gd name="connsiteY6" fmla="*/ 6857428 h 6857428"/>
              <a:gd name="connsiteX7" fmla="*/ 0 w 6011099"/>
              <a:gd name="connsiteY7" fmla="*/ 6857428 h 6857428"/>
              <a:gd name="connsiteX8" fmla="*/ 0 w 6011099"/>
              <a:gd name="connsiteY8" fmla="*/ 0 h 6857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11099" h="6857428">
                <a:moveTo>
                  <a:pt x="0" y="0"/>
                </a:moveTo>
                <a:lnTo>
                  <a:pt x="5973094" y="0"/>
                </a:lnTo>
                <a:lnTo>
                  <a:pt x="6011099" y="678751"/>
                </a:lnTo>
                <a:lnTo>
                  <a:pt x="5905244" y="2015553"/>
                </a:lnTo>
                <a:lnTo>
                  <a:pt x="6011099" y="3474339"/>
                </a:lnTo>
                <a:lnTo>
                  <a:pt x="5890639" y="5378132"/>
                </a:lnTo>
                <a:lnTo>
                  <a:pt x="5973062" y="6857428"/>
                </a:lnTo>
                <a:lnTo>
                  <a:pt x="0" y="685742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3" name="Tijdelijke aanduiding voor tekst 15">
            <a:extLst>
              <a:ext uri="{FF2B5EF4-FFF2-40B4-BE49-F238E27FC236}">
                <a16:creationId xmlns:a16="http://schemas.microsoft.com/office/drawing/2014/main" id="{8AC3520C-4489-A623-087B-176A21054E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2075" y="852488"/>
            <a:ext cx="4366800" cy="5132387"/>
          </a:xfrm>
          <a:noFill/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20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3556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3pPr>
            <a:lvl4pPr marL="6223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4pPr>
            <a:lvl5pPr>
              <a:spcAft>
                <a:spcPts val="2000"/>
              </a:spcAft>
              <a:defRPr sz="3600">
                <a:solidFill>
                  <a:schemeClr val="bg1"/>
                </a:solidFill>
              </a:defRPr>
            </a:lvl5pPr>
            <a:lvl6pPr marL="0" indent="0">
              <a:buNone/>
              <a:defRPr sz="2400">
                <a:solidFill>
                  <a:schemeClr val="bg1"/>
                </a:solidFill>
              </a:defRPr>
            </a:lvl6pPr>
            <a:lvl7pPr marL="2667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7pPr>
            <a:lvl8pPr marL="5334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 i="0">
                <a:solidFill>
                  <a:schemeClr val="bg1"/>
                </a:solidFill>
              </a:defRPr>
            </a:lvl8pPr>
            <a:lvl9pPr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  <a:p>
            <a:pPr lvl="2"/>
            <a:r>
              <a:rPr lang="nl-NL" dirty="0"/>
              <a:t>Bullet</a:t>
            </a:r>
          </a:p>
          <a:p>
            <a:pPr lvl="3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99972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rechts - Teks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BD800B8A-19B6-C6AD-6252-ABB55DC1EA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4" name="Tijdelijke aanduiding voor afbeelding 13">
            <a:extLst>
              <a:ext uri="{FF2B5EF4-FFF2-40B4-BE49-F238E27FC236}">
                <a16:creationId xmlns:a16="http://schemas.microsoft.com/office/drawing/2014/main" id="{C95184AB-D092-37B3-1B52-DD8AB1D8C9A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78366" y="0"/>
            <a:ext cx="6113634" cy="6858000"/>
          </a:xfrm>
          <a:custGeom>
            <a:avLst/>
            <a:gdLst>
              <a:gd name="connsiteX0" fmla="*/ 82423 w 6108700"/>
              <a:gd name="connsiteY0" fmla="*/ 0 h 6858000"/>
              <a:gd name="connsiteX1" fmla="*/ 6108700 w 6108700"/>
              <a:gd name="connsiteY1" fmla="*/ 0 h 6858000"/>
              <a:gd name="connsiteX2" fmla="*/ 6108700 w 6108700"/>
              <a:gd name="connsiteY2" fmla="*/ 6858000 h 6858000"/>
              <a:gd name="connsiteX3" fmla="*/ 82423 w 6108700"/>
              <a:gd name="connsiteY3" fmla="*/ 6858000 h 6858000"/>
              <a:gd name="connsiteX4" fmla="*/ 0 w 6108700"/>
              <a:gd name="connsiteY4" fmla="*/ 5379466 h 6858000"/>
              <a:gd name="connsiteX5" fmla="*/ 120587 w 6108700"/>
              <a:gd name="connsiteY5" fmla="*/ 3474022 h 6858000"/>
              <a:gd name="connsiteX6" fmla="*/ 14796 w 6108700"/>
              <a:gd name="connsiteY6" fmla="*/ 2016760 h 6858000"/>
              <a:gd name="connsiteX7" fmla="*/ 120523 w 6108700"/>
              <a:gd name="connsiteY7" fmla="*/ 68154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08700" h="6858000">
                <a:moveTo>
                  <a:pt x="82423" y="0"/>
                </a:moveTo>
                <a:lnTo>
                  <a:pt x="6108700" y="0"/>
                </a:lnTo>
                <a:lnTo>
                  <a:pt x="6108700" y="6858000"/>
                </a:lnTo>
                <a:lnTo>
                  <a:pt x="82423" y="6858000"/>
                </a:lnTo>
                <a:lnTo>
                  <a:pt x="0" y="5379466"/>
                </a:lnTo>
                <a:lnTo>
                  <a:pt x="120587" y="3474022"/>
                </a:lnTo>
                <a:lnTo>
                  <a:pt x="14796" y="2016760"/>
                </a:lnTo>
                <a:lnTo>
                  <a:pt x="120523" y="681546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 dir="108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802374F0-0F82-684F-E514-1D2213ACF8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998" y="852488"/>
            <a:ext cx="4366800" cy="5132387"/>
          </a:xfrm>
          <a:noFill/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20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3556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3pPr>
            <a:lvl4pPr marL="6223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4pPr>
            <a:lvl5pPr>
              <a:spcAft>
                <a:spcPts val="2000"/>
              </a:spcAft>
              <a:defRPr sz="3600">
                <a:solidFill>
                  <a:schemeClr val="bg1"/>
                </a:solidFill>
              </a:defRPr>
            </a:lvl5pPr>
            <a:lvl6pPr marL="0" indent="0">
              <a:buNone/>
              <a:defRPr sz="2400">
                <a:solidFill>
                  <a:schemeClr val="bg1"/>
                </a:solidFill>
              </a:defRPr>
            </a:lvl6pPr>
            <a:lvl7pPr marL="2667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7pPr>
            <a:lvl8pPr marL="5334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 i="0">
                <a:solidFill>
                  <a:schemeClr val="bg1"/>
                </a:solidFill>
              </a:defRPr>
            </a:lvl8pPr>
            <a:lvl9pPr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  <a:p>
            <a:pPr lvl="2"/>
            <a:r>
              <a:rPr lang="nl-NL" dirty="0"/>
              <a:t>Bullet</a:t>
            </a:r>
          </a:p>
          <a:p>
            <a:pPr lvl="3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079174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roon links - Uitgebreide teks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8CC6BF8D-89BF-B514-A05E-C7E8F541D7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02F560CA-FB06-EFDC-D186-6919BED5F7E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1600" y="852488"/>
            <a:ext cx="4366800" cy="5132387"/>
          </a:xfrm>
        </p:spPr>
        <p:txBody>
          <a:bodyPr vert="horz" anchor="ctr"/>
          <a:lstStyle>
            <a:lvl1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2pPr>
            <a:lvl3pPr>
              <a:spcBef>
                <a:spcPts val="600"/>
              </a:spcBef>
              <a:spcAft>
                <a:spcPts val="600"/>
              </a:spcAft>
              <a:defRPr sz="2400"/>
            </a:lvl3pPr>
            <a:lvl5pPr>
              <a:spcBef>
                <a:spcPts val="600"/>
              </a:spcBef>
              <a:spcAft>
                <a:spcPts val="600"/>
              </a:spcAft>
              <a:defRPr sz="2800"/>
            </a:lvl5pPr>
            <a:lvl6pPr>
              <a:spcBef>
                <a:spcPts val="600"/>
              </a:spcBef>
              <a:spcAft>
                <a:spcPts val="600"/>
              </a:spcAft>
              <a:defRPr sz="2400"/>
            </a:lvl6pPr>
            <a:lvl7pPr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spcBef>
                <a:spcPts val="600"/>
              </a:spcBef>
              <a:spcAft>
                <a:spcPts val="600"/>
              </a:spcAft>
              <a:defRPr sz="4000"/>
            </a:lvl8pPr>
            <a:lvl9pPr>
              <a:spcBef>
                <a:spcPts val="600"/>
              </a:spcBef>
              <a:spcAft>
                <a:spcPts val="600"/>
              </a:spcAft>
              <a:defRPr sz="1800"/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</p:txBody>
      </p:sp>
      <p:sp>
        <p:nvSpPr>
          <p:cNvPr id="4" name="Tijdelijke aanduiding voor tekst 15">
            <a:extLst>
              <a:ext uri="{FF2B5EF4-FFF2-40B4-BE49-F238E27FC236}">
                <a16:creationId xmlns:a16="http://schemas.microsoft.com/office/drawing/2014/main" id="{83A75945-6AC8-4A08-3831-5AF2237043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4000" y="852488"/>
            <a:ext cx="4368002" cy="5132387"/>
          </a:xfrm>
          <a:noFill/>
        </p:spPr>
        <p:txBody>
          <a:bodyPr lIns="0" tIns="0" rIns="0" bIns="0" anchor="ctr" anchorCtr="0">
            <a:noAutofit/>
          </a:bodyPr>
          <a:lstStyle>
            <a:lvl1pPr marL="0" indent="0" algn="l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14403741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roon rechts  - Uitgebreide teks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2AFC1356-43FB-1AA8-25FD-BC11799547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02F560CA-FB06-EFDC-D186-6919BED5F7E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63998" y="852488"/>
            <a:ext cx="4366800" cy="5132387"/>
          </a:xfrm>
        </p:spPr>
        <p:txBody>
          <a:bodyPr vert="horz" anchor="ctr"/>
          <a:lstStyle>
            <a:lvl1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2pPr>
            <a:lvl3pPr>
              <a:spcBef>
                <a:spcPts val="600"/>
              </a:spcBef>
              <a:spcAft>
                <a:spcPts val="600"/>
              </a:spcAft>
              <a:defRPr sz="2400"/>
            </a:lvl3pPr>
            <a:lvl5pPr>
              <a:spcBef>
                <a:spcPts val="600"/>
              </a:spcBef>
              <a:spcAft>
                <a:spcPts val="600"/>
              </a:spcAft>
              <a:defRPr sz="2800"/>
            </a:lvl5pPr>
            <a:lvl6pPr>
              <a:spcBef>
                <a:spcPts val="600"/>
              </a:spcBef>
              <a:spcAft>
                <a:spcPts val="600"/>
              </a:spcAft>
              <a:defRPr sz="2400"/>
            </a:lvl6pPr>
            <a:lvl7pPr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spcBef>
                <a:spcPts val="600"/>
              </a:spcBef>
              <a:spcAft>
                <a:spcPts val="600"/>
              </a:spcAft>
              <a:defRPr sz="4000"/>
            </a:lvl8pPr>
            <a:lvl9pPr>
              <a:spcBef>
                <a:spcPts val="600"/>
              </a:spcBef>
              <a:spcAft>
                <a:spcPts val="600"/>
              </a:spcAft>
              <a:defRPr sz="1800"/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</p:txBody>
      </p:sp>
      <p:sp>
        <p:nvSpPr>
          <p:cNvPr id="9" name="Tijdelijke aanduiding voor tekst 15">
            <a:extLst>
              <a:ext uri="{FF2B5EF4-FFF2-40B4-BE49-F238E27FC236}">
                <a16:creationId xmlns:a16="http://schemas.microsoft.com/office/drawing/2014/main" id="{7651F7A8-BC7A-12C4-8B77-7BB90249D72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2075" y="852488"/>
            <a:ext cx="4366800" cy="5132387"/>
          </a:xfrm>
          <a:noFill/>
        </p:spPr>
        <p:txBody>
          <a:bodyPr lIns="0" tIns="0" rIns="0" bIns="0" anchor="ctr" anchorCtr="0">
            <a:noAutofit/>
          </a:bodyPr>
          <a:lstStyle>
            <a:lvl1pPr marL="0" indent="0" algn="l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6890788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E9BB5313-7139-F424-CE96-0A18CC5E36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id="{47E0D39B-A3C0-F37D-E2D3-79791F3EE663}"/>
              </a:ext>
            </a:extLst>
          </p:cNvPr>
          <p:cNvSpPr/>
          <p:nvPr userDrawn="1"/>
        </p:nvSpPr>
        <p:spPr>
          <a:xfrm>
            <a:off x="0" y="4257848"/>
            <a:ext cx="12191999" cy="2600152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nl-NL"/>
          </a:p>
        </p:txBody>
      </p:sp>
      <p:sp>
        <p:nvSpPr>
          <p:cNvPr id="5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13ED8E3-0654-AF4A-B60F-622A064AD0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7560" y="527412"/>
            <a:ext cx="10156879" cy="5803176"/>
          </a:xfrm>
          <a:prstGeom prst="rect">
            <a:avLst/>
          </a:prstGeom>
        </p:spPr>
      </p:pic>
      <p:sp>
        <p:nvSpPr>
          <p:cNvPr id="13" name="Tijdelijke aanduiding voor afbeelding 15">
            <a:extLst>
              <a:ext uri="{FF2B5EF4-FFF2-40B4-BE49-F238E27FC236}">
                <a16:creationId xmlns:a16="http://schemas.microsoft.com/office/drawing/2014/main" id="{3F2ACABC-6B09-B3F1-1E72-A690B69A6B6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381107" y="768350"/>
            <a:ext cx="7477200" cy="42768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354364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telef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3938A4EA-F1EB-8E88-F0CF-D3E2EE0EB9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hthoek 3">
            <a:extLst>
              <a:ext uri="{FF2B5EF4-FFF2-40B4-BE49-F238E27FC236}">
                <a16:creationId xmlns:a16="http://schemas.microsoft.com/office/drawing/2014/main" id="{110D1C43-002E-DEA2-BEAA-D02894199623}"/>
              </a:ext>
            </a:extLst>
          </p:cNvPr>
          <p:cNvSpPr/>
          <p:nvPr userDrawn="1"/>
        </p:nvSpPr>
        <p:spPr>
          <a:xfrm>
            <a:off x="0" y="4257848"/>
            <a:ext cx="12191999" cy="2600152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41AD6DE0-6E15-5E61-4745-95CA961177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3222" y="655466"/>
            <a:ext cx="2744560" cy="5547067"/>
          </a:xfrm>
          <a:prstGeom prst="rect">
            <a:avLst/>
          </a:prstGeom>
        </p:spPr>
      </p:pic>
      <p:sp>
        <p:nvSpPr>
          <p:cNvPr id="13" name="Tijdelijke aanduiding voor afbeelding 15">
            <a:extLst>
              <a:ext uri="{FF2B5EF4-FFF2-40B4-BE49-F238E27FC236}">
                <a16:creationId xmlns:a16="http://schemas.microsoft.com/office/drawing/2014/main" id="{63858CBB-1E56-C272-0CD2-EA89F30606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97343" y="806115"/>
            <a:ext cx="2358000" cy="5205600"/>
          </a:xfrm>
          <a:prstGeom prst="roundRect">
            <a:avLst>
              <a:gd name="adj" fmla="val 10204"/>
            </a:avLst>
          </a:prstGeo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3" name="Tijdelijke aanduiding voor tekst 5">
            <a:extLst>
              <a:ext uri="{FF2B5EF4-FFF2-40B4-BE49-F238E27FC236}">
                <a16:creationId xmlns:a16="http://schemas.microsoft.com/office/drawing/2014/main" id="{69A7CFB4-0090-F79C-DA24-1A7A3B549F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9535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laptop en telef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C74DB1CB-CDC3-9F82-E592-C23AC246B7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23C02C6A-015D-3298-7AAC-8AB38692431A}"/>
              </a:ext>
            </a:extLst>
          </p:cNvPr>
          <p:cNvSpPr/>
          <p:nvPr userDrawn="1"/>
        </p:nvSpPr>
        <p:spPr>
          <a:xfrm>
            <a:off x="0" y="4257848"/>
            <a:ext cx="12191999" cy="2600152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nl-NL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13ED8E3-0654-AF4A-B60F-622A064AD0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8885" y="857612"/>
            <a:ext cx="9279511" cy="5301888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BC6CD3D6-1ED0-ACF4-4108-4A9C9ADCA04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37072" y="850900"/>
            <a:ext cx="2744560" cy="5547067"/>
          </a:xfrm>
          <a:prstGeom prst="rect">
            <a:avLst/>
          </a:prstGeom>
        </p:spPr>
      </p:pic>
      <p:sp>
        <p:nvSpPr>
          <p:cNvPr id="15" name="Tijdelijke aanduiding voor afbeelding 15">
            <a:extLst>
              <a:ext uri="{FF2B5EF4-FFF2-40B4-BE49-F238E27FC236}">
                <a16:creationId xmlns:a16="http://schemas.microsoft.com/office/drawing/2014/main" id="{2AA9BDF2-B3C9-D82B-FF47-4C50E194167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424533" y="1071488"/>
            <a:ext cx="6831307" cy="3907363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6" name="Tijdelijke aanduiding voor afbeelding 15">
            <a:extLst>
              <a:ext uri="{FF2B5EF4-FFF2-40B4-BE49-F238E27FC236}">
                <a16:creationId xmlns:a16="http://schemas.microsoft.com/office/drawing/2014/main" id="{2A55962E-7832-B430-56EE-EAE5C69A4A8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031193" y="1001549"/>
            <a:ext cx="2358000" cy="5205600"/>
          </a:xfrm>
          <a:prstGeom prst="roundRect">
            <a:avLst>
              <a:gd name="adj" fmla="val 10204"/>
            </a:avLst>
          </a:prstGeo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4" name="Tijdelijke aanduiding voor tekst 5">
            <a:extLst>
              <a:ext uri="{FF2B5EF4-FFF2-40B4-BE49-F238E27FC236}">
                <a16:creationId xmlns:a16="http://schemas.microsoft.com/office/drawing/2014/main" id="{221731A3-CEB0-E2A4-DD9B-EF22E6D67F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8656792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art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F12591C1-A03C-77FD-A3E2-35DF098895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637212"/>
            <a:ext cx="12192000" cy="1583575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34935813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art+blauwe 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A2E49E9A-3010-2378-BCF5-5276920F70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7450927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 + blauwe 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A82E37DD-B6B8-C1DB-8836-080111CA3A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7427499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stelsheet - 4 na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15">
            <a:extLst>
              <a:ext uri="{FF2B5EF4-FFF2-40B4-BE49-F238E27FC236}">
                <a16:creationId xmlns:a16="http://schemas.microsoft.com/office/drawing/2014/main" id="{AD8581CB-57EF-9636-6986-9EAED67C9D0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957893" y="8640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afbeelding 15">
            <a:extLst>
              <a:ext uri="{FF2B5EF4-FFF2-40B4-BE49-F238E27FC236}">
                <a16:creationId xmlns:a16="http://schemas.microsoft.com/office/drawing/2014/main" id="{701C20DD-48E8-56B7-347C-26EEF710789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957893" y="36453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8" name="Tijdelijke aanduiding voor afbeelding 15">
            <a:extLst>
              <a:ext uri="{FF2B5EF4-FFF2-40B4-BE49-F238E27FC236}">
                <a16:creationId xmlns:a16="http://schemas.microsoft.com/office/drawing/2014/main" id="{CFAAE836-34C7-EE55-19F7-D38E1F3327A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622093" y="8640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8" name="Tijdelijke aanduiding voor afbeelding 15">
            <a:extLst>
              <a:ext uri="{FF2B5EF4-FFF2-40B4-BE49-F238E27FC236}">
                <a16:creationId xmlns:a16="http://schemas.microsoft.com/office/drawing/2014/main" id="{E1A10384-2754-1E33-CEC0-7987181EA93F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622093" y="36453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38" name="Tijdelijke aanduiding voor tekst 5"/>
          <p:cNvSpPr>
            <a:spLocks noGrp="1"/>
          </p:cNvSpPr>
          <p:nvPr>
            <p:ph type="body" sz="quarter" idx="30" hasCustomPrompt="1"/>
          </p:nvPr>
        </p:nvSpPr>
        <p:spPr>
          <a:xfrm>
            <a:off x="850006" y="16056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37" name="Tijdelijke aanduiding voor tekst 5"/>
          <p:cNvSpPr>
            <a:spLocks noGrp="1"/>
          </p:cNvSpPr>
          <p:nvPr>
            <p:ph type="body" sz="quarter" idx="29" hasCustomPrompt="1"/>
          </p:nvPr>
        </p:nvSpPr>
        <p:spPr>
          <a:xfrm>
            <a:off x="864000" y="11222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21" name="Rechthoek 20">
            <a:extLst>
              <a:ext uri="{FF2B5EF4-FFF2-40B4-BE49-F238E27FC236}">
                <a16:creationId xmlns:a16="http://schemas.microsoft.com/office/drawing/2014/main" id="{F59F5650-1788-FD79-61DE-AB1C004EFD0C}"/>
              </a:ext>
            </a:extLst>
          </p:cNvPr>
          <p:cNvSpPr/>
          <p:nvPr userDrawn="1"/>
        </p:nvSpPr>
        <p:spPr>
          <a:xfrm>
            <a:off x="859346" y="31746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CE7D398E-DC09-EF57-6BD6-36CC1F66864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0006" y="43869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15" name="Tijdelijke aanduiding voor tekst 5">
            <a:extLst>
              <a:ext uri="{FF2B5EF4-FFF2-40B4-BE49-F238E27FC236}">
                <a16:creationId xmlns:a16="http://schemas.microsoft.com/office/drawing/2014/main" id="{F061245B-7BE8-4B73-90D4-FD0B1AEADB1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4000" y="39035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16" name="Rechthoek 15">
            <a:extLst>
              <a:ext uri="{FF2B5EF4-FFF2-40B4-BE49-F238E27FC236}">
                <a16:creationId xmlns:a16="http://schemas.microsoft.com/office/drawing/2014/main" id="{4120514E-501A-972C-D43C-473312F2D154}"/>
              </a:ext>
            </a:extLst>
          </p:cNvPr>
          <p:cNvSpPr/>
          <p:nvPr userDrawn="1"/>
        </p:nvSpPr>
        <p:spPr>
          <a:xfrm>
            <a:off x="859346" y="59559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3C7AE287-77B2-C751-63D6-1F29852770E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14206" y="16056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BC806A0F-14AD-130A-6711-B3293AE845E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28200" y="11222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27" name="Rechthoek 26">
            <a:extLst>
              <a:ext uri="{FF2B5EF4-FFF2-40B4-BE49-F238E27FC236}">
                <a16:creationId xmlns:a16="http://schemas.microsoft.com/office/drawing/2014/main" id="{9863B7FD-BDB1-C0AD-0B1C-B67834373DC5}"/>
              </a:ext>
            </a:extLst>
          </p:cNvPr>
          <p:cNvSpPr/>
          <p:nvPr userDrawn="1"/>
        </p:nvSpPr>
        <p:spPr>
          <a:xfrm>
            <a:off x="6523546" y="31746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29" name="Tijdelijke aanduiding voor tekst 5">
            <a:extLst>
              <a:ext uri="{FF2B5EF4-FFF2-40B4-BE49-F238E27FC236}">
                <a16:creationId xmlns:a16="http://schemas.microsoft.com/office/drawing/2014/main" id="{0018156F-89B0-480A-C8E7-79F8AEA51DD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514206" y="43869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30" name="Tijdelijke aanduiding voor tekst 5">
            <a:extLst>
              <a:ext uri="{FF2B5EF4-FFF2-40B4-BE49-F238E27FC236}">
                <a16:creationId xmlns:a16="http://schemas.microsoft.com/office/drawing/2014/main" id="{365219B5-4F6D-985C-AF69-3CEC8E61160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528200" y="39035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31" name="Rechthoek 30">
            <a:extLst>
              <a:ext uri="{FF2B5EF4-FFF2-40B4-BE49-F238E27FC236}">
                <a16:creationId xmlns:a16="http://schemas.microsoft.com/office/drawing/2014/main" id="{F6EEB40C-8FC9-F91B-DEAF-06681C75DB4D}"/>
              </a:ext>
            </a:extLst>
          </p:cNvPr>
          <p:cNvSpPr/>
          <p:nvPr userDrawn="1"/>
        </p:nvSpPr>
        <p:spPr>
          <a:xfrm>
            <a:off x="6523546" y="59559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28E404FE-835A-4A98-C2E1-B5D5ECD8B00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1408823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25061EA7-C404-3EB7-4410-EE6054E49B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7F0C0ABB-A248-439F-8BF2-90ED1ED664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9900" y="730086"/>
            <a:ext cx="6172200" cy="5397828"/>
          </a:xfrm>
          <a:prstGeom prst="rect">
            <a:avLst/>
          </a:prstGeom>
        </p:spPr>
      </p:pic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9DD8704-0CE3-43D5-B900-5C958DD8F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5538" y="2657565"/>
            <a:ext cx="4953000" cy="2984110"/>
          </a:xfrm>
          <a:prstGeom prst="rect">
            <a:avLst/>
          </a:prstGeom>
        </p:spPr>
        <p:txBody>
          <a:bodyPr/>
          <a:lstStyle>
            <a:lvl1pPr>
              <a:spcBef>
                <a:spcPts val="700"/>
              </a:spcBef>
              <a:spcAft>
                <a:spcPts val="700"/>
              </a:spcAft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/>
              <a:t>Agendapunt #1</a:t>
            </a:r>
          </a:p>
          <a:p>
            <a:pPr lvl="0"/>
            <a:r>
              <a:rPr lang="nl-NL" dirty="0"/>
              <a:t>Agendapunt #2</a:t>
            </a:r>
          </a:p>
          <a:p>
            <a:pPr lvl="0"/>
            <a:r>
              <a:rPr lang="nl-NL" dirty="0"/>
              <a:t>Agendapunt #3</a:t>
            </a:r>
          </a:p>
          <a:p>
            <a:pPr lvl="0"/>
            <a:r>
              <a:rPr lang="nl-NL" dirty="0"/>
              <a:t>Agendapunt #4</a:t>
            </a:r>
          </a:p>
          <a:p>
            <a:pPr lvl="0"/>
            <a:r>
              <a:rPr lang="nl-NL" dirty="0"/>
              <a:t>Agendapunt #5</a:t>
            </a:r>
          </a:p>
          <a:p>
            <a:pPr lvl="0"/>
            <a:r>
              <a:rPr lang="nl-NL" dirty="0"/>
              <a:t>Agendapunt #6</a:t>
            </a:r>
          </a:p>
        </p:txBody>
      </p:sp>
    </p:spTree>
    <p:extLst>
      <p:ext uri="{BB962C8B-B14F-4D97-AF65-F5344CB8AC3E}">
        <p14:creationId xmlns:p14="http://schemas.microsoft.com/office/powerpoint/2010/main" val="1052063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Profit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Afbeelding 16" descr="Afbeelding met schermopname, tekst, software, Besturingssysteem&#10;&#10;Automatisch gegenereerde beschrijving">
            <a:extLst>
              <a:ext uri="{FF2B5EF4-FFF2-40B4-BE49-F238E27FC236}">
                <a16:creationId xmlns:a16="http://schemas.microsoft.com/office/drawing/2014/main" id="{F128D9EE-8735-EA33-038A-55A4363134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99D4C0DC-F804-B00F-EEB4-50FFD5ACC4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83743" y="3075299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1</a:t>
            </a:r>
          </a:p>
        </p:txBody>
      </p:sp>
      <p:sp>
        <p:nvSpPr>
          <p:cNvPr id="11" name="Tijdelijke aanduiding voor tekst 9">
            <a:extLst>
              <a:ext uri="{FF2B5EF4-FFF2-40B4-BE49-F238E27FC236}">
                <a16:creationId xmlns:a16="http://schemas.microsoft.com/office/drawing/2014/main" id="{C206424A-E442-8CDD-8215-D86FBBB449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83743" y="351662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2</a:t>
            </a:r>
          </a:p>
        </p:txBody>
      </p:sp>
      <p:sp>
        <p:nvSpPr>
          <p:cNvPr id="12" name="Tijdelijke aanduiding voor tekst 9">
            <a:extLst>
              <a:ext uri="{FF2B5EF4-FFF2-40B4-BE49-F238E27FC236}">
                <a16:creationId xmlns:a16="http://schemas.microsoft.com/office/drawing/2014/main" id="{B190AF81-3785-91E5-5AF4-A5F61E5082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3743" y="396112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3</a:t>
            </a:r>
          </a:p>
        </p:txBody>
      </p:sp>
      <p:sp>
        <p:nvSpPr>
          <p:cNvPr id="13" name="Tijdelijke aanduiding voor tekst 9">
            <a:extLst>
              <a:ext uri="{FF2B5EF4-FFF2-40B4-BE49-F238E27FC236}">
                <a16:creationId xmlns:a16="http://schemas.microsoft.com/office/drawing/2014/main" id="{B09548C2-05B4-BDB2-8434-8514F2C32A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83743" y="4402449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4</a:t>
            </a:r>
          </a:p>
        </p:txBody>
      </p:sp>
      <p:sp>
        <p:nvSpPr>
          <p:cNvPr id="15" name="Tijdelijke aanduiding voor tekst 9">
            <a:extLst>
              <a:ext uri="{FF2B5EF4-FFF2-40B4-BE49-F238E27FC236}">
                <a16:creationId xmlns:a16="http://schemas.microsoft.com/office/drawing/2014/main" id="{856934C3-8E96-676F-12FD-55C640E409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3743" y="485647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5</a:t>
            </a:r>
          </a:p>
        </p:txBody>
      </p:sp>
      <p:sp>
        <p:nvSpPr>
          <p:cNvPr id="16" name="Tijdelijke aanduiding voor tekst 9">
            <a:extLst>
              <a:ext uri="{FF2B5EF4-FFF2-40B4-BE49-F238E27FC236}">
                <a16:creationId xmlns:a16="http://schemas.microsoft.com/office/drawing/2014/main" id="{DCC474CB-7E0A-61A7-9D37-607F353346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83743" y="5297799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6</a:t>
            </a:r>
          </a:p>
        </p:txBody>
      </p:sp>
      <p:sp>
        <p:nvSpPr>
          <p:cNvPr id="18" name="Tijdelijke aanduiding voor tekst 9">
            <a:extLst>
              <a:ext uri="{FF2B5EF4-FFF2-40B4-BE49-F238E27FC236}">
                <a16:creationId xmlns:a16="http://schemas.microsoft.com/office/drawing/2014/main" id="{2444FEAC-0D41-99A2-9E68-7E67960A52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83743" y="574547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7</a:t>
            </a:r>
          </a:p>
        </p:txBody>
      </p:sp>
    </p:spTree>
    <p:extLst>
      <p:ext uri="{BB962C8B-B14F-4D97-AF65-F5344CB8AC3E}">
        <p14:creationId xmlns:p14="http://schemas.microsoft.com/office/powerpoint/2010/main" val="2517403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jdelijke aanduiding voor afbeelding 15">
            <a:extLst>
              <a:ext uri="{FF2B5EF4-FFF2-40B4-BE49-F238E27FC236}">
                <a16:creationId xmlns:a16="http://schemas.microsoft.com/office/drawing/2014/main" id="{CB33B5E2-B922-C3EC-042B-E1E4F5A584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08E17F38-A717-51F3-1C7D-15360C6FAD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867152"/>
            <a:ext cx="4392000" cy="2517677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>
            <a:spAutoFit/>
          </a:bodyPr>
          <a:lstStyle>
            <a:lvl1pPr marL="0" indent="0">
              <a:spcAft>
                <a:spcPts val="20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3556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3pPr>
            <a:lvl4pPr marL="6223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4pPr>
            <a:lvl5pPr>
              <a:spcAft>
                <a:spcPts val="2000"/>
              </a:spcAft>
              <a:defRPr sz="3600">
                <a:solidFill>
                  <a:schemeClr val="bg1"/>
                </a:solidFill>
              </a:defRPr>
            </a:lvl5pPr>
            <a:lvl6pPr marL="0" indent="0">
              <a:buNone/>
              <a:defRPr sz="2400">
                <a:solidFill>
                  <a:schemeClr val="bg1"/>
                </a:solidFill>
              </a:defRPr>
            </a:lvl6pPr>
            <a:lvl7pPr marL="2667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7pPr>
            <a:lvl8pPr marL="5334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 i="0">
                <a:solidFill>
                  <a:schemeClr val="bg1"/>
                </a:solidFill>
              </a:defRPr>
            </a:lvl8pPr>
            <a:lvl9pPr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  <a:p>
            <a:pPr lvl="2"/>
            <a:r>
              <a:rPr lang="nl-NL" dirty="0"/>
              <a:t>Bullet</a:t>
            </a:r>
          </a:p>
          <a:p>
            <a:pPr lvl="3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79970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links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A5BD3E75-FF5A-48E0-5F72-BAB3CC0E120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tekst 15">
            <a:extLst>
              <a:ext uri="{FF2B5EF4-FFF2-40B4-BE49-F238E27FC236}">
                <a16:creationId xmlns:a16="http://schemas.microsoft.com/office/drawing/2014/main" id="{F9547FF9-6997-9797-F5C2-279B1C7C88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4406547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b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18160325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rechts onder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09D6FF98-D625-B237-929E-B1C525055B0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tekst 15">
            <a:extLst>
              <a:ext uri="{FF2B5EF4-FFF2-40B4-BE49-F238E27FC236}">
                <a16:creationId xmlns:a16="http://schemas.microsoft.com/office/drawing/2014/main" id="{1651B45A-E517-7C8C-7BE8-A6B231532A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00399" y="4406547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b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1564540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rechts boven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0D7D7E91-2D77-6C40-D4F9-0773A3748B4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tekst 15">
            <a:extLst>
              <a:ext uri="{FF2B5EF4-FFF2-40B4-BE49-F238E27FC236}">
                <a16:creationId xmlns:a16="http://schemas.microsoft.com/office/drawing/2014/main" id="{E1BAD3F3-6F28-35AD-1D94-4796D2311A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00399" y="864000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t" anchorCtr="0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36709764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864000" y="864001"/>
            <a:ext cx="10463999" cy="5323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noProof="0" dirty="0"/>
              <a:t>Plaats je titel hi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4000" y="1825625"/>
            <a:ext cx="10463999" cy="41683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Quote</a:t>
            </a:r>
          </a:p>
          <a:p>
            <a:pPr lvl="8"/>
            <a:r>
              <a:rPr lang="nl-NL" noProof="0" dirty="0"/>
              <a:t>Bron</a:t>
            </a:r>
          </a:p>
        </p:txBody>
      </p:sp>
      <p:sp>
        <p:nvSpPr>
          <p:cNvPr id="4" name="empower - DO NOT DELETE!!!" hidden="1"/>
          <p:cNvSpPr/>
          <p:nvPr>
            <p:custDataLst>
              <p:tags r:id="rId3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5" name="empower - DO NOT DELETE!!!" hidden="1">
            <a:extLst>
              <a:ext uri="{FF2B5EF4-FFF2-40B4-BE49-F238E27FC236}">
                <a16:creationId xmlns:a16="http://schemas.microsoft.com/office/drawing/2014/main" id="{7E00CB65-77C5-C7E1-4795-F527B1A3B9B4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829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01" r:id="rId2"/>
    <p:sldLayoutId id="2147483702" r:id="rId3"/>
    <p:sldLayoutId id="2147483703" r:id="rId4"/>
    <p:sldLayoutId id="2147483740" r:id="rId5"/>
    <p:sldLayoutId id="2147483705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31" r:id="rId17"/>
    <p:sldLayoutId id="2147483754" r:id="rId18"/>
    <p:sldLayoutId id="2147483722" r:id="rId19"/>
    <p:sldLayoutId id="2147483721" r:id="rId20"/>
    <p:sldLayoutId id="2147483741" r:id="rId21"/>
    <p:sldLayoutId id="2147483729" r:id="rId22"/>
    <p:sldLayoutId id="2147483753" r:id="rId23"/>
    <p:sldLayoutId id="2147483724" r:id="rId24"/>
    <p:sldLayoutId id="2147483725" r:id="rId25"/>
    <p:sldLayoutId id="2147483726" r:id="rId26"/>
    <p:sldLayoutId id="2147483717" r:id="rId27"/>
    <p:sldLayoutId id="2147483718" r:id="rId28"/>
    <p:sldLayoutId id="2147483719" r:id="rId2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none" baseline="0">
          <a:solidFill>
            <a:srgbClr val="005FAA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542925" indent="-2587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>
          <a:solidFill>
            <a:schemeClr val="accent5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1000"/>
        </a:spcAft>
        <a:buFont typeface="Arial" panose="020B0604020202020204" pitchFamily="34" charset="0"/>
        <a:buNone/>
        <a:defRPr sz="3600" b="0" kern="120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800" b="0" kern="1200" baseline="0">
          <a:solidFill>
            <a:schemeClr val="accent5"/>
          </a:solidFill>
          <a:latin typeface="+mj-lt"/>
          <a:ea typeface="+mn-ea"/>
          <a:cs typeface="+mn-cs"/>
        </a:defRPr>
      </a:lvl5pPr>
      <a:lvl6pPr marL="271463" indent="-2714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+mj-lt"/>
        <a:buAutoNum type="arabicPeriod"/>
        <a:defRPr sz="1600" kern="1200">
          <a:solidFill>
            <a:schemeClr val="accent5"/>
          </a:solidFill>
          <a:latin typeface="+mn-lt"/>
          <a:ea typeface="+mn-ea"/>
          <a:cs typeface="+mn-cs"/>
        </a:defRPr>
      </a:lvl6pPr>
      <a:lvl7pPr marL="542925" indent="-2714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+mj-lt"/>
        <a:buAutoNum type="alphaUcPeriod"/>
        <a:defRPr sz="1600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2800" i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70" userDrawn="1">
          <p15:clr>
            <a:srgbClr val="F26B43"/>
          </p15:clr>
        </p15:guide>
        <p15:guide id="2" pos="545" userDrawn="1">
          <p15:clr>
            <a:srgbClr val="F26B43"/>
          </p15:clr>
        </p15:guide>
        <p15:guide id="3" pos="7130" userDrawn="1">
          <p15:clr>
            <a:srgbClr val="F26B43"/>
          </p15:clr>
        </p15:guide>
        <p15:guide id="4" orient="horz" pos="537" userDrawn="1">
          <p15:clr>
            <a:srgbClr val="F26B43"/>
          </p15:clr>
        </p15:guide>
        <p15:guide id="5" orient="horz" pos="880" userDrawn="1">
          <p15:clr>
            <a:srgbClr val="F26B43"/>
          </p15:clr>
        </p15:guide>
        <p15:guide id="6" orient="horz" pos="11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hyperlink" Target="https://media.afas.nl/l/home" TargetMode="Externa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1.png"/><Relationship Id="rId4" Type="http://schemas.openxmlformats.org/officeDocument/2006/relationships/image" Target="../media/image20.gi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verticale tekst 7">
            <a:extLst>
              <a:ext uri="{FF2B5EF4-FFF2-40B4-BE49-F238E27FC236}">
                <a16:creationId xmlns:a16="http://schemas.microsoft.com/office/drawing/2014/main" id="{886B307B-F6FE-FDBA-71CA-71A3FAC26D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dirty="0">
                <a:latin typeface="Roboto Black" panose="02000000000000000000" pitchFamily="2" charset="0"/>
              </a:rPr>
              <a:t>Tips &amp; tricks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Gebruik hoofdzakelijk AFAS Stockfoto’s (</a:t>
            </a:r>
            <a:r>
              <a:rPr lang="nl-NL" sz="1600" dirty="0">
                <a:solidFill>
                  <a:srgbClr val="FFFFFF"/>
                </a:solidFill>
                <a:hlinkClick r:id="rId2"/>
              </a:rPr>
              <a:t>Media.AFAS.nl</a:t>
            </a:r>
            <a:r>
              <a:rPr lang="nl-NL" sz="1600" dirty="0">
                <a:solidFill>
                  <a:srgbClr val="FFFFFF"/>
                </a:solidFill>
              </a:rPr>
              <a:t>). 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Wissel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vette</a:t>
            </a:r>
            <a:r>
              <a:rPr lang="nl-NL" sz="1600" dirty="0">
                <a:solidFill>
                  <a:srgbClr val="FFFFFF"/>
                </a:solidFill>
              </a:rPr>
              <a:t> tekst af met de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dunne</a:t>
            </a:r>
            <a:r>
              <a:rPr lang="nl-NL" sz="1600" dirty="0">
                <a:solidFill>
                  <a:srgbClr val="FFFFFF"/>
                </a:solidFill>
              </a:rPr>
              <a:t> tekst, zoals in deze regel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Gebruik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inspringen</a:t>
            </a:r>
            <a:r>
              <a:rPr lang="nl-NL" sz="1600" dirty="0">
                <a:solidFill>
                  <a:srgbClr val="FFFFFF"/>
                </a:solidFill>
              </a:rPr>
              <a:t> (</a:t>
            </a:r>
            <a:r>
              <a:rPr lang="nl-NL" sz="1600" dirty="0">
                <a:solidFill>
                  <a:srgbClr val="FFFFFF"/>
                </a:solidFill>
                <a:latin typeface="Roboto Black" panose="02000000000000000000" pitchFamily="2" charset="0"/>
              </a:rPr>
              <a:t>Alt + Shift + Pijl naar rechts</a:t>
            </a:r>
            <a:r>
              <a:rPr lang="nl-NL" sz="1600" dirty="0">
                <a:solidFill>
                  <a:srgbClr val="FFFFFF"/>
                </a:solidFill>
              </a:rPr>
              <a:t>) voor het maken van een ondertitel in dia’s met een blauw blokje over de foto.</a:t>
            </a:r>
            <a:br>
              <a:rPr lang="nl-NL" sz="1600" dirty="0">
                <a:solidFill>
                  <a:srgbClr val="FFFFFF"/>
                </a:solidFill>
              </a:rPr>
            </a:br>
            <a:br>
              <a:rPr lang="nl-NL" sz="1600" dirty="0">
                <a:solidFill>
                  <a:srgbClr val="FFFFFF"/>
                </a:solidFill>
              </a:rPr>
            </a:br>
            <a:br>
              <a:rPr lang="nl-NL" sz="1600" dirty="0">
                <a:solidFill>
                  <a:srgbClr val="FFFFFF"/>
                </a:solidFill>
              </a:rPr>
            </a:br>
            <a:br>
              <a:rPr lang="nl-NL" sz="1600" dirty="0">
                <a:solidFill>
                  <a:srgbClr val="FFFFFF"/>
                </a:solidFill>
              </a:rPr>
            </a:br>
            <a:br>
              <a:rPr lang="nl-NL" sz="1600" dirty="0">
                <a:solidFill>
                  <a:srgbClr val="FFFFFF"/>
                </a:solidFill>
              </a:rPr>
            </a:br>
            <a:br>
              <a:rPr lang="nl-NL" sz="1600" dirty="0">
                <a:solidFill>
                  <a:srgbClr val="FFFFFF"/>
                </a:solidFill>
              </a:rPr>
            </a:br>
            <a:endParaRPr lang="nl-NL" sz="1600" dirty="0">
              <a:solidFill>
                <a:srgbClr val="FFFFFF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Kies een indeling uit het </a:t>
            </a:r>
            <a:r>
              <a:rPr lang="nl-NL" sz="1600" dirty="0" err="1">
                <a:solidFill>
                  <a:srgbClr val="FFFFFF"/>
                </a:solidFill>
              </a:rPr>
              <a:t>diamodel</a:t>
            </a:r>
            <a:r>
              <a:rPr lang="nl-NL" sz="1600" dirty="0">
                <a:solidFill>
                  <a:srgbClr val="FFFFFF"/>
                </a:solidFill>
              </a:rPr>
              <a:t> die past bij het doel van je sheet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Geef je een </a:t>
            </a:r>
            <a:r>
              <a:rPr lang="nl-NL" sz="1600" b="1" dirty="0" err="1">
                <a:solidFill>
                  <a:srgbClr val="FFFFFF"/>
                </a:solidFill>
                <a:latin typeface="+mj-lt"/>
              </a:rPr>
              <a:t>webinar</a:t>
            </a:r>
            <a:r>
              <a:rPr lang="nl-NL" sz="1600" dirty="0">
                <a:solidFill>
                  <a:srgbClr val="FFFFFF"/>
                </a:solidFill>
              </a:rPr>
              <a:t>? Houd er met je opmaak rekening mee dat rechtsonder een klein camerabeeld te zien i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Heb je problemen bij het plakken van een afbeelding? Kies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Dia herstellen</a:t>
            </a:r>
            <a:r>
              <a:rPr lang="nl-NL" sz="1600" dirty="0">
                <a:solidFill>
                  <a:srgbClr val="FFFFFF"/>
                </a:solidFill>
              </a:rPr>
              <a:t> of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Opnieuw instellen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Je maakt uiteraard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geen</a:t>
            </a:r>
            <a:r>
              <a:rPr lang="nl-NL" sz="1600" dirty="0">
                <a:solidFill>
                  <a:srgbClr val="FFFFFF"/>
                </a:solidFill>
              </a:rPr>
              <a:t> sheets met zoveel tekst als op deze Slide.. Sheet.. Plaat.. Shit… </a:t>
            </a:r>
            <a:r>
              <a:rPr lang="nl-NL" sz="1600" dirty="0" err="1">
                <a:solidFill>
                  <a:srgbClr val="FFFFFF"/>
                </a:solidFill>
              </a:rPr>
              <a:t>whooott</a:t>
            </a:r>
            <a:r>
              <a:rPr lang="nl-NL" sz="1600" dirty="0">
                <a:solidFill>
                  <a:srgbClr val="FFFFFF"/>
                </a:solidFill>
              </a:rPr>
              <a:t>?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704D6BB-1955-D0D2-6C23-8A047167F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ouw jouw </a:t>
            </a:r>
            <a:r>
              <a:rPr lang="nl-NL" dirty="0" err="1"/>
              <a:t>Powerpoint</a:t>
            </a:r>
            <a:r>
              <a:rPr lang="nl-NL" dirty="0"/>
              <a:t> met de template</a:t>
            </a:r>
          </a:p>
        </p:txBody>
      </p:sp>
      <p:pic>
        <p:nvPicPr>
          <p:cNvPr id="10" name="Afbeelding 9" descr="Afbeelding met tekst, schermopname, Lettertype, lijn&#10;&#10;Automatisch gegenereerde beschrijving">
            <a:extLst>
              <a:ext uri="{FF2B5EF4-FFF2-40B4-BE49-F238E27FC236}">
                <a16:creationId xmlns:a16="http://schemas.microsoft.com/office/drawing/2014/main" id="{E6B7B8A8-50D0-17F0-2592-E2ACF65305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635" y="3507985"/>
            <a:ext cx="7410450" cy="1343025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FF1BAF5D-8EAC-4E71-990C-58E2C59D1AE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74450" y="3594521"/>
            <a:ext cx="2413677" cy="1129206"/>
          </a:xfrm>
          <a:prstGeom prst="rect">
            <a:avLst/>
          </a:prstGeom>
        </p:spPr>
      </p:pic>
      <p:pic>
        <p:nvPicPr>
          <p:cNvPr id="3" name="Afbeelding 2" descr="Afbeelding met tekst, kleding, schoeisel, schermopname&#10;&#10;Automatisch gegenereerde beschrijving">
            <a:extLst>
              <a:ext uri="{FF2B5EF4-FFF2-40B4-BE49-F238E27FC236}">
                <a16:creationId xmlns:a16="http://schemas.microsoft.com/office/drawing/2014/main" id="{C4694EB4-07BF-E6E5-9FEE-BF5034D711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8874" y="3594521"/>
            <a:ext cx="3192443" cy="3263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7880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46B6F6-A644-7047-8F8A-38971853D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erticale tekst 1">
            <a:extLst>
              <a:ext uri="{FF2B5EF4-FFF2-40B4-BE49-F238E27FC236}">
                <a16:creationId xmlns:a16="http://schemas.microsoft.com/office/drawing/2014/main" id="{03B05F7F-B8F1-E600-F3BE-78B07CA9CA7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Singletons zijn geregistreerd in de host en dus per host</a:t>
            </a:r>
          </a:p>
          <a:p>
            <a:pPr lvl="1"/>
            <a:r>
              <a:rPr lang="nl-NL" dirty="0"/>
              <a:t>Meerdere unit tests = meerdere </a:t>
            </a:r>
            <a:r>
              <a:rPr lang="nl-NL" dirty="0" err="1"/>
              <a:t>hosts</a:t>
            </a:r>
            <a:endParaRPr lang="nl-NL" dirty="0"/>
          </a:p>
          <a:p>
            <a:r>
              <a:rPr lang="nl-NL" dirty="0" err="1"/>
              <a:t>Constructor</a:t>
            </a:r>
            <a:r>
              <a:rPr lang="nl-NL" dirty="0"/>
              <a:t> </a:t>
            </a:r>
            <a:r>
              <a:rPr lang="nl-NL" dirty="0" err="1"/>
              <a:t>dependency</a:t>
            </a:r>
            <a:r>
              <a:rPr lang="nl-NL" dirty="0"/>
              <a:t> </a:t>
            </a:r>
            <a:r>
              <a:rPr lang="nl-NL" dirty="0" err="1"/>
              <a:t>injection</a:t>
            </a:r>
            <a:endParaRPr lang="nl-NL" dirty="0"/>
          </a:p>
          <a:p>
            <a:pPr lvl="1"/>
            <a:r>
              <a:rPr lang="nl-NL" dirty="0"/>
              <a:t>Extra </a:t>
            </a:r>
            <a:r>
              <a:rPr lang="nl-NL" dirty="0" err="1"/>
              <a:t>dependency</a:t>
            </a:r>
            <a:r>
              <a:rPr lang="nl-NL" dirty="0"/>
              <a:t>, dan alleen </a:t>
            </a:r>
            <a:r>
              <a:rPr lang="nl-NL" dirty="0" err="1"/>
              <a:t>constructor</a:t>
            </a:r>
            <a:r>
              <a:rPr lang="nl-NL" dirty="0"/>
              <a:t> uitbreiden</a:t>
            </a:r>
          </a:p>
          <a:p>
            <a:pPr lvl="1"/>
            <a:r>
              <a:rPr lang="nl-NL" dirty="0"/>
              <a:t>Circulaire </a:t>
            </a:r>
            <a:r>
              <a:rPr lang="nl-NL" dirty="0" err="1"/>
              <a:t>dependency</a:t>
            </a:r>
            <a:r>
              <a:rPr lang="nl-NL" dirty="0"/>
              <a:t> gedetecteerd en voorkomen</a:t>
            </a:r>
          </a:p>
          <a:p>
            <a:pPr lvl="1"/>
            <a:r>
              <a:rPr lang="nl-NL" dirty="0" err="1"/>
              <a:t>Cleanup</a:t>
            </a:r>
            <a:r>
              <a:rPr lang="nl-NL" dirty="0"/>
              <a:t> automatisch gemanaged (</a:t>
            </a:r>
            <a:r>
              <a:rPr lang="nl-NL" dirty="0" err="1"/>
              <a:t>IDisposable</a:t>
            </a:r>
            <a:r>
              <a:rPr lang="nl-NL" dirty="0"/>
              <a:t>, </a:t>
            </a:r>
            <a:r>
              <a:rPr lang="nl-NL" dirty="0" err="1"/>
              <a:t>IAsyncDisposable</a:t>
            </a:r>
            <a:r>
              <a:rPr lang="nl-NL" dirty="0"/>
              <a:t>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6AC9426-0F5D-F7CA-0059-49A12DC476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Core</a:t>
            </a:r>
            <a:r>
              <a:rPr lang="nl-NL" dirty="0"/>
              <a:t> DI voordelen</a:t>
            </a:r>
          </a:p>
        </p:txBody>
      </p:sp>
    </p:spTree>
    <p:extLst>
      <p:ext uri="{BB962C8B-B14F-4D97-AF65-F5344CB8AC3E}">
        <p14:creationId xmlns:p14="http://schemas.microsoft.com/office/powerpoint/2010/main" val="10098067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verticale tekst 11">
            <a:extLst>
              <a:ext uri="{FF2B5EF4-FFF2-40B4-BE49-F238E27FC236}">
                <a16:creationId xmlns:a16="http://schemas.microsoft.com/office/drawing/2014/main" id="{43BA4917-5B0C-96D9-8286-6F18E00731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EFB9063-DC39-844C-8892-9574801A3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Core</a:t>
            </a:r>
            <a:r>
              <a:rPr lang="nl-NL" dirty="0"/>
              <a:t> DI levensduur en delen</a:t>
            </a:r>
          </a:p>
        </p:txBody>
      </p:sp>
      <p:graphicFrame>
        <p:nvGraphicFramePr>
          <p:cNvPr id="14" name="Tabel 13">
            <a:extLst>
              <a:ext uri="{FF2B5EF4-FFF2-40B4-BE49-F238E27FC236}">
                <a16:creationId xmlns:a16="http://schemas.microsoft.com/office/drawing/2014/main" id="{44ACD5FC-512C-966D-7C61-0FC2D5A452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0194922"/>
              </p:ext>
            </p:extLst>
          </p:nvPr>
        </p:nvGraphicFramePr>
        <p:xfrm>
          <a:off x="865187" y="1825624"/>
          <a:ext cx="10453688" cy="33153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9182">
                  <a:extLst>
                    <a:ext uri="{9D8B030D-6E8A-4147-A177-3AD203B41FA5}">
                      <a16:colId xmlns:a16="http://schemas.microsoft.com/office/drawing/2014/main" val="3387387810"/>
                    </a:ext>
                  </a:extLst>
                </a:gridCol>
                <a:gridCol w="4332191">
                  <a:extLst>
                    <a:ext uri="{9D8B030D-6E8A-4147-A177-3AD203B41FA5}">
                      <a16:colId xmlns:a16="http://schemas.microsoft.com/office/drawing/2014/main" val="2485375517"/>
                    </a:ext>
                  </a:extLst>
                </a:gridCol>
                <a:gridCol w="4552315">
                  <a:extLst>
                    <a:ext uri="{9D8B030D-6E8A-4147-A177-3AD203B41FA5}">
                      <a16:colId xmlns:a16="http://schemas.microsoft.com/office/drawing/2014/main" val="1303322721"/>
                    </a:ext>
                  </a:extLst>
                </a:gridCol>
              </a:tblGrid>
              <a:tr h="404924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asp.net </a:t>
                      </a:r>
                      <a:r>
                        <a:rPr lang="nl-NL" dirty="0" err="1"/>
                        <a:t>core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ande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232069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dezelfde instantie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dezelfde instanti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3978280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 err="1"/>
                        <a:t>Transient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een nieuwe instantie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een nieuwe instanti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140074"/>
                  </a:ext>
                </a:extLst>
              </a:tr>
              <a:tr h="1293517">
                <a:tc>
                  <a:txBody>
                    <a:bodyPr/>
                    <a:lstStyle/>
                    <a:p>
                      <a:r>
                        <a:rPr lang="nl-NL" dirty="0" err="1"/>
                        <a:t>Scop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dezelfde instantie per web </a:t>
                      </a:r>
                      <a:r>
                        <a:rPr lang="nl-NL" dirty="0" err="1"/>
                        <a:t>request</a:t>
                      </a:r>
                      <a:r>
                        <a:rPr lang="nl-NL" dirty="0"/>
                        <a:t>, maar niet gedeeld over </a:t>
                      </a:r>
                      <a:r>
                        <a:rPr lang="nl-NL" dirty="0" err="1"/>
                        <a:t>webrequests</a:t>
                      </a:r>
                      <a:r>
                        <a:rPr lang="nl-NL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dezelfde instantie per scope, maar niet gedeeld over scopes. Developer moet zelf scopes creëren anders singleto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6378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16914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5C4079-EFE0-08B8-DB9A-3CE9A0E0D9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verticale tekst 11">
            <a:extLst>
              <a:ext uri="{FF2B5EF4-FFF2-40B4-BE49-F238E27FC236}">
                <a16:creationId xmlns:a16="http://schemas.microsoft.com/office/drawing/2014/main" id="{D625726D-4237-9C34-3BCB-03512EDF4A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FECAA945-1535-AC8C-F205-112C2B681A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Core</a:t>
            </a:r>
            <a:r>
              <a:rPr lang="nl-NL" dirty="0"/>
              <a:t> DI veilige </a:t>
            </a:r>
            <a:r>
              <a:rPr lang="nl-NL" dirty="0" err="1"/>
              <a:t>dependencies</a:t>
            </a:r>
            <a:endParaRPr lang="nl-NL" dirty="0"/>
          </a:p>
        </p:txBody>
      </p:sp>
      <p:graphicFrame>
        <p:nvGraphicFramePr>
          <p:cNvPr id="14" name="Tabel 13">
            <a:extLst>
              <a:ext uri="{FF2B5EF4-FFF2-40B4-BE49-F238E27FC236}">
                <a16:creationId xmlns:a16="http://schemas.microsoft.com/office/drawing/2014/main" id="{C151980F-622A-5AB8-431A-95E203AF27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9678574"/>
              </p:ext>
            </p:extLst>
          </p:nvPr>
        </p:nvGraphicFramePr>
        <p:xfrm>
          <a:off x="865187" y="1825624"/>
          <a:ext cx="8939213" cy="331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2333">
                  <a:extLst>
                    <a:ext uri="{9D8B030D-6E8A-4147-A177-3AD203B41FA5}">
                      <a16:colId xmlns:a16="http://schemas.microsoft.com/office/drawing/2014/main" val="3387387810"/>
                    </a:ext>
                  </a:extLst>
                </a:gridCol>
                <a:gridCol w="1363168">
                  <a:extLst>
                    <a:ext uri="{9D8B030D-6E8A-4147-A177-3AD203B41FA5}">
                      <a16:colId xmlns:a16="http://schemas.microsoft.com/office/drawing/2014/main" val="2485375517"/>
                    </a:ext>
                  </a:extLst>
                </a:gridCol>
                <a:gridCol w="2711856">
                  <a:extLst>
                    <a:ext uri="{9D8B030D-6E8A-4147-A177-3AD203B41FA5}">
                      <a16:colId xmlns:a16="http://schemas.microsoft.com/office/drawing/2014/main" val="1303322721"/>
                    </a:ext>
                  </a:extLst>
                </a:gridCol>
                <a:gridCol w="2711856">
                  <a:extLst>
                    <a:ext uri="{9D8B030D-6E8A-4147-A177-3AD203B41FA5}">
                      <a16:colId xmlns:a16="http://schemas.microsoft.com/office/drawing/2014/main" val="253205853"/>
                    </a:ext>
                  </a:extLst>
                </a:gridCol>
              </a:tblGrid>
              <a:tr h="404517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dirty="0" err="1"/>
                        <a:t>Scop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dirty="0" err="1"/>
                        <a:t>Transient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232069"/>
                  </a:ext>
                </a:extLst>
              </a:tr>
              <a:tr h="969161">
                <a:tc>
                  <a:txBody>
                    <a:bodyPr/>
                    <a:lstStyle/>
                    <a:p>
                      <a:r>
                        <a:rPr lang="nl-NL" dirty="0"/>
                        <a:t>Singleton</a:t>
                      </a:r>
                    </a:p>
                    <a:p>
                      <a:r>
                        <a:rPr lang="nl-NL" dirty="0"/>
                        <a:t>(thread-saf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❌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❌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3978280"/>
                  </a:ext>
                </a:extLst>
              </a:tr>
              <a:tr h="969161">
                <a:tc>
                  <a:txBody>
                    <a:bodyPr/>
                    <a:lstStyle/>
                    <a:p>
                      <a:r>
                        <a:rPr lang="nl-NL" dirty="0"/>
                        <a:t>Scope</a:t>
                      </a:r>
                    </a:p>
                    <a:p>
                      <a:r>
                        <a:rPr lang="nl-NL" dirty="0"/>
                        <a:t>(thread-safe?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❌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05140074"/>
                  </a:ext>
                </a:extLst>
              </a:tr>
              <a:tr h="969161">
                <a:tc>
                  <a:txBody>
                    <a:bodyPr/>
                    <a:lstStyle/>
                    <a:p>
                      <a:r>
                        <a:rPr lang="nl-NL" dirty="0" err="1"/>
                        <a:t>Transient</a:t>
                      </a:r>
                      <a:endParaRPr lang="nl-NL" dirty="0"/>
                    </a:p>
                    <a:p>
                      <a:r>
                        <a:rPr lang="nl-NL" dirty="0"/>
                        <a:t>(niet thread-saf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6378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67113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8B699E-4C25-5227-AC9B-FD5759AC5D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8DD59B9-00A2-94FC-182F-BC14B38025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046399A-81EE-16F1-33BC-B097182F3A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9331175E-067F-16B3-B820-A9D81FEB09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38C32285-F3C0-CC7D-3708-475C79E8056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5B991C04-5A9A-BF98-9087-D4651C9C76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90060328-6518-FE63-A03A-D1EBB4DCD39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8CA83179-EA08-EED0-22CF-436E408A8F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14D74E76-9BF5-0C64-B5AF-0FCB6AA0425F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0" name="Picture 2" descr="Live demo @ the staff club, Highfield - Digital Learning">
            <a:extLst>
              <a:ext uri="{FF2B5EF4-FFF2-40B4-BE49-F238E27FC236}">
                <a16:creationId xmlns:a16="http://schemas.microsoft.com/office/drawing/2014/main" id="{2B9A9B4F-66A2-CE8E-9165-850FE91351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32315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B20CCDEA-E521-4E65-944F-F421B9306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Gebruik geen </a:t>
            </a:r>
            <a:r>
              <a:rPr lang="nl-NL" dirty="0" err="1"/>
              <a:t>static</a:t>
            </a:r>
            <a:r>
              <a:rPr lang="nl-NL" dirty="0"/>
              <a:t> of </a:t>
            </a:r>
            <a:r>
              <a:rPr lang="nl-NL" dirty="0" err="1"/>
              <a:t>threadstatic</a:t>
            </a:r>
            <a:r>
              <a:rPr lang="nl-NL" dirty="0"/>
              <a:t> variabele</a:t>
            </a:r>
          </a:p>
          <a:p>
            <a:r>
              <a:rPr lang="nl-NL" dirty="0" err="1"/>
              <a:t>Refactor</a:t>
            </a:r>
            <a:r>
              <a:rPr lang="nl-NL" dirty="0"/>
              <a:t> t.b.v. testen is normaal</a:t>
            </a:r>
          </a:p>
          <a:p>
            <a:r>
              <a:rPr lang="nl-NL" dirty="0" err="1"/>
              <a:t>FakeItEasy</a:t>
            </a:r>
            <a:r>
              <a:rPr lang="nl-NL" dirty="0"/>
              <a:t> t.b.v. fake </a:t>
            </a:r>
            <a:r>
              <a:rPr lang="nl-NL" dirty="0" err="1"/>
              <a:t>dependencies</a:t>
            </a:r>
            <a:endParaRPr lang="nl-NL" dirty="0"/>
          </a:p>
          <a:p>
            <a:r>
              <a:rPr lang="nl-NL" dirty="0" err="1"/>
              <a:t>InternalsVisibleTo</a:t>
            </a:r>
            <a:r>
              <a:rPr lang="nl-NL" dirty="0"/>
              <a:t>() t.b.v. testen van </a:t>
            </a:r>
            <a:r>
              <a:rPr lang="nl-NL" dirty="0" err="1"/>
              <a:t>internals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6C5EE05-CD02-C139-F243-3F8AA208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hebben we geleerd</a:t>
            </a:r>
          </a:p>
        </p:txBody>
      </p:sp>
    </p:spTree>
    <p:extLst>
      <p:ext uri="{BB962C8B-B14F-4D97-AF65-F5344CB8AC3E}">
        <p14:creationId xmlns:p14="http://schemas.microsoft.com/office/powerpoint/2010/main" val="18711258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B0F8D7-C868-C902-834B-9439A73C72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E3CE83FF-CF66-AED8-5B5F-610E7135511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78D459B2-0DEE-DB12-5968-D80A6E70E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6396A5A9-AE76-6060-9C53-3B1330614E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3BC3DF1A-571A-96A2-1E8E-8A5144B0DE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88E93550-FD62-ED04-EA05-4D0CAB68BD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5E3B207D-6F49-22A1-9CB2-B690344709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2E44BCEE-64A8-9356-E58E-0D5582F274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94596260-C85C-2074-B145-D7A8A80ABE10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0" name="Picture 2" descr="Live demo @ the staff club, Highfield - Digital Learning">
            <a:extLst>
              <a:ext uri="{FF2B5EF4-FFF2-40B4-BE49-F238E27FC236}">
                <a16:creationId xmlns:a16="http://schemas.microsoft.com/office/drawing/2014/main" id="{E30314F6-90A2-99CB-56FA-4038AA2394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44612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6AF5E5-1FDE-62DA-6F3D-D4A479E265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73D85D4-27F7-F365-D24A-87F6C58282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7BFFAC2-BC76-FAE5-5454-2407B9794D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93BFBEC-9E33-A3A6-6225-0AC76F5240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50D394C7-7579-2287-84D8-A4E1750661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3D93269E-B350-5F9F-7A03-CE4C70A7A1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A41F70E1-A785-C318-173F-9EA7A47609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514EF5F6-E26C-9CC6-6FE3-4E830CB566C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3F5FE429-CA63-12E0-29CA-B4A73535119C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0" name="Picture 2" descr="Live demo @ the staff club, Highfield - Digital Learning">
            <a:extLst>
              <a:ext uri="{FF2B5EF4-FFF2-40B4-BE49-F238E27FC236}">
                <a16:creationId xmlns:a16="http://schemas.microsoft.com/office/drawing/2014/main" id="{BF69D234-46D8-833A-9630-4B6A12B36B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38487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C4FBA1-CFE8-5AC5-A9B7-1DA0B5E5B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9B2F835F-6C2B-21B8-95D2-BE52102187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 err="1"/>
              <a:t>StorageSettings</a:t>
            </a:r>
            <a:r>
              <a:rPr lang="nl-NL" dirty="0"/>
              <a:t> bevat instellingen van </a:t>
            </a:r>
            <a:r>
              <a:rPr lang="nl-NL" dirty="0" err="1"/>
              <a:t>MsSql</a:t>
            </a:r>
            <a:r>
              <a:rPr lang="nl-NL" dirty="0"/>
              <a:t> &amp; </a:t>
            </a:r>
            <a:r>
              <a:rPr lang="nl-NL" dirty="0" err="1"/>
              <a:t>AzureStorageTable</a:t>
            </a:r>
            <a:endParaRPr lang="nl-NL" dirty="0"/>
          </a:p>
          <a:p>
            <a:pPr lvl="1"/>
            <a:r>
              <a:rPr lang="nl-NL" dirty="0"/>
              <a:t>Wat als we 20 verschillende providers hebben?</a:t>
            </a:r>
          </a:p>
          <a:p>
            <a:pPr lvl="1"/>
            <a:r>
              <a:rPr lang="nl-NL" dirty="0"/>
              <a:t>Welke </a:t>
            </a:r>
            <a:r>
              <a:rPr lang="nl-NL" dirty="0" err="1"/>
              <a:t>settings</a:t>
            </a:r>
            <a:r>
              <a:rPr lang="nl-NL" dirty="0"/>
              <a:t> zijn van toepassing in welke situatie?</a:t>
            </a:r>
          </a:p>
          <a:p>
            <a:pPr lvl="1"/>
            <a:r>
              <a:rPr lang="nl-NL" dirty="0"/>
              <a:t>Moeten we overal alle </a:t>
            </a:r>
            <a:r>
              <a:rPr lang="nl-NL" dirty="0" err="1"/>
              <a:t>StorageSettings</a:t>
            </a:r>
            <a:r>
              <a:rPr lang="nl-NL" dirty="0"/>
              <a:t> hebben?</a:t>
            </a:r>
          </a:p>
          <a:p>
            <a:r>
              <a:rPr lang="nl-NL" dirty="0"/>
              <a:t>Verschillende bronnen voor </a:t>
            </a:r>
            <a:r>
              <a:rPr lang="nl-NL" dirty="0" err="1"/>
              <a:t>settings</a:t>
            </a:r>
            <a:r>
              <a:rPr lang="nl-NL" dirty="0"/>
              <a:t>:</a:t>
            </a:r>
          </a:p>
          <a:p>
            <a:pPr lvl="1"/>
            <a:r>
              <a:rPr lang="nl-NL" dirty="0"/>
              <a:t>In </a:t>
            </a:r>
            <a:r>
              <a:rPr lang="nl-NL" dirty="0" err="1"/>
              <a:t>command</a:t>
            </a:r>
            <a:r>
              <a:rPr lang="nl-NL" dirty="0"/>
              <a:t> line als </a:t>
            </a:r>
            <a:r>
              <a:rPr lang="nl-NL" dirty="0" err="1"/>
              <a:t>command</a:t>
            </a:r>
            <a:r>
              <a:rPr lang="nl-NL" dirty="0"/>
              <a:t> line parameter. </a:t>
            </a:r>
          </a:p>
          <a:p>
            <a:pPr lvl="1"/>
            <a:r>
              <a:rPr lang="nl-NL" dirty="0"/>
              <a:t>In lokale webserver in </a:t>
            </a:r>
            <a:r>
              <a:rPr lang="nl-NL" dirty="0" err="1"/>
              <a:t>appsettings.json</a:t>
            </a:r>
            <a:endParaRPr lang="nl-NL" dirty="0"/>
          </a:p>
          <a:p>
            <a:pPr lvl="1"/>
            <a:r>
              <a:rPr lang="nl-NL" dirty="0"/>
              <a:t>In </a:t>
            </a:r>
            <a:r>
              <a:rPr lang="nl-NL" dirty="0" err="1"/>
              <a:t>azure</a:t>
            </a:r>
            <a:r>
              <a:rPr lang="nl-NL" dirty="0"/>
              <a:t> web app in Environment variables</a:t>
            </a:r>
          </a:p>
          <a:p>
            <a:pPr lvl="1"/>
            <a:r>
              <a:rPr lang="nl-NL" dirty="0" err="1"/>
              <a:t>enz</a:t>
            </a:r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22BB557-CEFF-A9C9-576B-E50415928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is er te verbeteren aan </a:t>
            </a:r>
            <a:r>
              <a:rPr lang="nl-NL" dirty="0" err="1"/>
              <a:t>settings</a:t>
            </a:r>
            <a:r>
              <a:rPr lang="nl-NL" dirty="0"/>
              <a:t>?</a:t>
            </a:r>
          </a:p>
        </p:txBody>
      </p:sp>
      <p:pic>
        <p:nvPicPr>
          <p:cNvPr id="2" name="Picture 2" descr="Live demo @ the staff club, Highfield - Digital Learning">
            <a:extLst>
              <a:ext uri="{FF2B5EF4-FFF2-40B4-BE49-F238E27FC236}">
                <a16:creationId xmlns:a16="http://schemas.microsoft.com/office/drawing/2014/main" id="{2D624884-71D2-CBE8-BD9C-332D97F1B4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49516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4E48D1-1A7D-723F-A549-2787B8047D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7F4A3372-6C48-B951-5689-9A11B23C02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 err="1"/>
              <a:t>AppSettings.json</a:t>
            </a:r>
            <a:endParaRPr lang="nl-NL" dirty="0"/>
          </a:p>
          <a:p>
            <a:r>
              <a:rPr lang="nl-NL" dirty="0" err="1"/>
              <a:t>AppSettings</a:t>
            </a:r>
            <a:r>
              <a:rPr lang="nl-NL" dirty="0"/>
              <a:t>.{</a:t>
            </a:r>
            <a:r>
              <a:rPr lang="nl-NL" dirty="0" err="1"/>
              <a:t>IHostConfiguration.Environment</a:t>
            </a:r>
            <a:r>
              <a:rPr lang="nl-NL" dirty="0"/>
              <a:t>}.</a:t>
            </a:r>
            <a:r>
              <a:rPr lang="nl-NL" dirty="0" err="1"/>
              <a:t>json</a:t>
            </a:r>
            <a:endParaRPr lang="nl-NL" dirty="0"/>
          </a:p>
          <a:p>
            <a:r>
              <a:rPr lang="nl-NL" dirty="0"/>
              <a:t>User </a:t>
            </a:r>
            <a:r>
              <a:rPr lang="nl-NL" dirty="0" err="1"/>
              <a:t>secrets</a:t>
            </a:r>
            <a:r>
              <a:rPr lang="nl-NL" dirty="0"/>
              <a:t> (</a:t>
            </a:r>
            <a:r>
              <a:rPr lang="nl-NL" dirty="0" err="1"/>
              <a:t>only</a:t>
            </a:r>
            <a:r>
              <a:rPr lang="nl-NL" dirty="0"/>
              <a:t> in development environment)</a:t>
            </a:r>
          </a:p>
          <a:p>
            <a:r>
              <a:rPr lang="nl-NL" dirty="0"/>
              <a:t>Environment variables</a:t>
            </a:r>
          </a:p>
          <a:p>
            <a:r>
              <a:rPr lang="nl-NL" dirty="0" err="1"/>
              <a:t>Command</a:t>
            </a:r>
            <a:r>
              <a:rPr lang="nl-NL" dirty="0"/>
              <a:t> line </a:t>
            </a:r>
            <a:r>
              <a:rPr lang="nl-NL" dirty="0" err="1"/>
              <a:t>args</a:t>
            </a:r>
            <a:endParaRPr lang="nl-NL" dirty="0"/>
          </a:p>
          <a:p>
            <a:endParaRPr lang="nl-NL" dirty="0"/>
          </a:p>
          <a:p>
            <a:r>
              <a:rPr lang="nl-NL" dirty="0"/>
              <a:t>Eigen bronnen kunnen toegevoegd worden.</a:t>
            </a:r>
          </a:p>
          <a:p>
            <a:r>
              <a:rPr lang="nl-NL" dirty="0" err="1"/>
              <a:t>Subobjecten</a:t>
            </a:r>
            <a:r>
              <a:rPr lang="nl-NL" dirty="0"/>
              <a:t> in </a:t>
            </a:r>
            <a:r>
              <a:rPr lang="nl-NL" dirty="0" err="1"/>
              <a:t>appsettings</a:t>
            </a:r>
            <a:r>
              <a:rPr lang="nl-NL" dirty="0"/>
              <a:t> en lijsten zijn tevens mogelijk. (</a:t>
            </a:r>
            <a:r>
              <a:rPr lang="nl-NL" dirty="0" err="1"/>
              <a:t>GetSection</a:t>
            </a:r>
            <a:r>
              <a:rPr lang="nl-NL" dirty="0"/>
              <a:t>()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DE33D0F-9716-9DA5-EB02-D567EF8561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ronnen </a:t>
            </a:r>
            <a:r>
              <a:rPr lang="nl-NL" dirty="0" err="1"/>
              <a:t>IConfiguratio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727928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BFFA04-C84C-B6EE-81BF-D79C3B038C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verticale tekst 11">
            <a:extLst>
              <a:ext uri="{FF2B5EF4-FFF2-40B4-BE49-F238E27FC236}">
                <a16:creationId xmlns:a16="http://schemas.microsoft.com/office/drawing/2014/main" id="{7BFA8BF4-DD90-1719-7664-99BCC1EF80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37BE5CE3-DEF1-A740-7CF3-D90C97355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ezen </a:t>
            </a:r>
            <a:r>
              <a:rPr lang="nl-NL" dirty="0" err="1"/>
              <a:t>IConfiguration</a:t>
            </a:r>
            <a:endParaRPr lang="nl-NL" dirty="0"/>
          </a:p>
        </p:txBody>
      </p:sp>
      <p:graphicFrame>
        <p:nvGraphicFramePr>
          <p:cNvPr id="14" name="Tabel 13">
            <a:extLst>
              <a:ext uri="{FF2B5EF4-FFF2-40B4-BE49-F238E27FC236}">
                <a16:creationId xmlns:a16="http://schemas.microsoft.com/office/drawing/2014/main" id="{C8A573D9-8D0D-D8F4-019E-9C9241C908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2438046"/>
              </p:ext>
            </p:extLst>
          </p:nvPr>
        </p:nvGraphicFramePr>
        <p:xfrm>
          <a:off x="865187" y="1825624"/>
          <a:ext cx="10453688" cy="33153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5533">
                  <a:extLst>
                    <a:ext uri="{9D8B030D-6E8A-4147-A177-3AD203B41FA5}">
                      <a16:colId xmlns:a16="http://schemas.microsoft.com/office/drawing/2014/main" val="3387387810"/>
                    </a:ext>
                  </a:extLst>
                </a:gridCol>
                <a:gridCol w="3545840">
                  <a:extLst>
                    <a:ext uri="{9D8B030D-6E8A-4147-A177-3AD203B41FA5}">
                      <a16:colId xmlns:a16="http://schemas.microsoft.com/office/drawing/2014/main" val="2485375517"/>
                    </a:ext>
                  </a:extLst>
                </a:gridCol>
                <a:gridCol w="4552315">
                  <a:extLst>
                    <a:ext uri="{9D8B030D-6E8A-4147-A177-3AD203B41FA5}">
                      <a16:colId xmlns:a16="http://schemas.microsoft.com/office/drawing/2014/main" val="1303322721"/>
                    </a:ext>
                  </a:extLst>
                </a:gridCol>
              </a:tblGrid>
              <a:tr h="404924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gistration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Function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232069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 err="1"/>
                        <a:t>IOptions</a:t>
                      </a:r>
                      <a:r>
                        <a:rPr lang="nl-NL" dirty="0"/>
                        <a:t>&lt;T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Read </a:t>
                      </a:r>
                      <a:r>
                        <a:rPr lang="nl-NL" dirty="0" err="1"/>
                        <a:t>once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3978280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 err="1"/>
                        <a:t>IOptionsSnapshot</a:t>
                      </a:r>
                      <a:r>
                        <a:rPr lang="nl-NL" dirty="0"/>
                        <a:t>&lt;T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 err="1"/>
                        <a:t>Scop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Re-</a:t>
                      </a:r>
                      <a:r>
                        <a:rPr lang="nl-NL" dirty="0" err="1"/>
                        <a:t>read</a:t>
                      </a:r>
                      <a:r>
                        <a:rPr lang="nl-NL" dirty="0"/>
                        <a:t> at </a:t>
                      </a:r>
                      <a:r>
                        <a:rPr lang="nl-NL" dirty="0" err="1"/>
                        <a:t>ever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request</a:t>
                      </a:r>
                      <a:r>
                        <a:rPr lang="nl-NL" dirty="0"/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140074"/>
                  </a:ext>
                </a:extLst>
              </a:tr>
              <a:tr h="1293517">
                <a:tc>
                  <a:txBody>
                    <a:bodyPr/>
                    <a:lstStyle/>
                    <a:p>
                      <a:r>
                        <a:rPr lang="nl-NL" dirty="0" err="1"/>
                        <a:t>IOptionsMonitor</a:t>
                      </a:r>
                      <a:r>
                        <a:rPr lang="nl-NL" dirty="0"/>
                        <a:t>&lt;T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hange </a:t>
                      </a:r>
                      <a:r>
                        <a:rPr lang="nl-NL" dirty="0" err="1"/>
                        <a:t>notification</a:t>
                      </a:r>
                      <a:r>
                        <a:rPr lang="nl-NL" dirty="0"/>
                        <a:t>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 err="1"/>
                        <a:t>Reload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configuration</a:t>
                      </a:r>
                      <a:endParaRPr lang="nl-NL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ective</a:t>
                      </a:r>
                      <a:r>
                        <a:rPr lang="nl-NL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ptions </a:t>
                      </a:r>
                      <a:r>
                        <a:rPr lang="nl-NL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validation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6378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22562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937937BA-E4C6-3ADE-F762-8DB900AF0A0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l-NL" dirty="0" err="1"/>
              <a:t>Dependency</a:t>
            </a:r>
            <a:r>
              <a:rPr lang="nl-NL" dirty="0"/>
              <a:t> </a:t>
            </a:r>
            <a:r>
              <a:rPr lang="nl-NL" dirty="0" err="1"/>
              <a:t>injection</a:t>
            </a:r>
            <a:r>
              <a:rPr lang="nl-NL" dirty="0"/>
              <a:t> in .NET </a:t>
            </a:r>
            <a:r>
              <a:rPr lang="nl-NL" dirty="0" err="1"/>
              <a:t>Core</a:t>
            </a:r>
            <a:endParaRPr lang="nl-NL" dirty="0"/>
          </a:p>
          <a:p>
            <a:r>
              <a:rPr lang="nl-NL" dirty="0"/>
              <a:t>(en unit </a:t>
            </a:r>
            <a:r>
              <a:rPr lang="nl-NL" dirty="0" err="1"/>
              <a:t>testing</a:t>
            </a:r>
            <a:r>
              <a:rPr lang="nl-NL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195222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918313-6904-B2F4-93B6-23AA552EE5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917524C4-E6C8-B6EE-BB66-B94CE3C032B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4D135FB-1D38-893D-837F-30FC293029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E705AF9B-D846-C83E-85A5-E8E388BFA9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6FA69176-98B0-4D7C-25CE-3CDC42D478C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C512C174-1E35-495D-02A4-9E6312D4FF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09ABE16A-E1DC-DB34-BEAE-71C18CCFCF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034C76B5-20D9-4C45-C777-F306D85207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3FFEB716-5E08-36D2-9416-B76E603F35FD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16107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67FC29-ED71-B561-E49C-33C51FE56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4D63D13C-0D20-334D-9117-8EBF5C3A8E4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Wat als we meerdere locaties willen loggen (zowel file als console).</a:t>
            </a:r>
          </a:p>
          <a:p>
            <a:r>
              <a:rPr lang="nl-NL" dirty="0"/>
              <a:t>Wat als we </a:t>
            </a:r>
            <a:r>
              <a:rPr lang="nl-NL" dirty="0" err="1"/>
              <a:t>opentelemetry</a:t>
            </a:r>
            <a:r>
              <a:rPr lang="nl-NL" dirty="0"/>
              <a:t> willen implementeren.</a:t>
            </a:r>
          </a:p>
          <a:p>
            <a:r>
              <a:rPr lang="nl-NL" dirty="0"/>
              <a:t>Wat als we voor een gedeelte van de software meer willen loggen.</a:t>
            </a:r>
          </a:p>
          <a:p>
            <a:r>
              <a:rPr lang="nl-NL" dirty="0"/>
              <a:t>Wat als we 3</a:t>
            </a:r>
            <a:r>
              <a:rPr lang="nl-NL" baseline="30000" dirty="0"/>
              <a:t>de</a:t>
            </a:r>
            <a:r>
              <a:rPr lang="nl-NL" dirty="0"/>
              <a:t> partij componenten gebruiken die ook </a:t>
            </a:r>
            <a:r>
              <a:rPr lang="nl-NL" dirty="0" err="1"/>
              <a:t>logging</a:t>
            </a:r>
            <a:r>
              <a:rPr lang="nl-NL" dirty="0"/>
              <a:t> hebben.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266B39E-9ED7-D661-28EF-CE60367C6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is er te verbeteren aan </a:t>
            </a:r>
            <a:r>
              <a:rPr lang="nl-NL" dirty="0" err="1"/>
              <a:t>logging</a:t>
            </a:r>
            <a:r>
              <a:rPr lang="nl-NL" dirty="0"/>
              <a:t>?</a:t>
            </a:r>
          </a:p>
        </p:txBody>
      </p:sp>
      <p:pic>
        <p:nvPicPr>
          <p:cNvPr id="2" name="Picture 2" descr="Live demo @ the staff club, Highfield - Digital Learning">
            <a:extLst>
              <a:ext uri="{FF2B5EF4-FFF2-40B4-BE49-F238E27FC236}">
                <a16:creationId xmlns:a16="http://schemas.microsoft.com/office/drawing/2014/main" id="{BA46DAB5-A5F2-F325-3F35-4AF687F6B7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73491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922A8F-557F-CEC9-F6E1-E622247F51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AF8A67D4-AF3F-BE2E-AF7C-E965AE2E04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Console</a:t>
            </a:r>
          </a:p>
          <a:p>
            <a:r>
              <a:rPr lang="nl-NL" dirty="0"/>
              <a:t>Debug</a:t>
            </a:r>
          </a:p>
          <a:p>
            <a:r>
              <a:rPr lang="nl-NL" dirty="0" err="1"/>
              <a:t>EventSource</a:t>
            </a:r>
            <a:endParaRPr lang="nl-NL" dirty="0"/>
          </a:p>
          <a:p>
            <a:endParaRPr lang="nl-NL" dirty="0"/>
          </a:p>
          <a:p>
            <a:r>
              <a:rPr lang="nl-NL" dirty="0"/>
              <a:t>Eigen </a:t>
            </a:r>
            <a:r>
              <a:rPr lang="nl-NL" dirty="0" err="1"/>
              <a:t>outputs</a:t>
            </a:r>
            <a:r>
              <a:rPr lang="nl-NL" dirty="0"/>
              <a:t> bv </a:t>
            </a:r>
            <a:r>
              <a:rPr lang="nl-NL" dirty="0" err="1"/>
              <a:t>opentelemetry</a:t>
            </a:r>
            <a:r>
              <a:rPr lang="nl-NL" dirty="0"/>
              <a:t> kunnen toegevoegd worden.</a:t>
            </a:r>
          </a:p>
          <a:p>
            <a:r>
              <a:rPr lang="nl-NL" dirty="0"/>
              <a:t>Levels per type en output configureren via </a:t>
            </a:r>
            <a:r>
              <a:rPr lang="nl-NL" dirty="0" err="1"/>
              <a:t>IConfiguration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E498CD1-CD8E-F4B0-FD06-9167FB529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utput </a:t>
            </a:r>
            <a:r>
              <a:rPr lang="nl-NL" dirty="0" err="1"/>
              <a:t>Logging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972636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668C8D-0552-837D-857F-75B2E13438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97D7DF40-6117-4B78-3257-388379E9469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AE02709-DCCB-8BBB-5418-A263130270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44E1F0D9-14CD-6056-73D0-B03593D5EB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4B5DCB7F-1B61-7363-F44D-760358493B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861D6E99-D980-0646-5D05-1B7949B558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03F918B-E3F9-DE2F-D501-1A419FC66D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8C9FFE10-0715-F8A2-1D8C-FBD0D0E6EC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FFD98911-A42F-2F11-95A7-A1B0FC4EFB70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b="1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12756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86AE22-DA30-9162-9583-6C7B2E6DF0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96EDBFD3-7203-A985-A791-C7448561DF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Injecteer nooit </a:t>
            </a:r>
            <a:r>
              <a:rPr lang="nl-NL" dirty="0" err="1"/>
              <a:t>IServiceProvider</a:t>
            </a:r>
            <a:r>
              <a:rPr lang="nl-NL" dirty="0"/>
              <a:t> </a:t>
            </a:r>
          </a:p>
          <a:p>
            <a:pPr lvl="1"/>
            <a:r>
              <a:rPr lang="nl-NL" dirty="0"/>
              <a:t>Breekt </a:t>
            </a:r>
            <a:r>
              <a:rPr lang="nl-NL" dirty="0" err="1"/>
              <a:t>circular</a:t>
            </a:r>
            <a:r>
              <a:rPr lang="nl-NL" dirty="0"/>
              <a:t> </a:t>
            </a:r>
            <a:r>
              <a:rPr lang="nl-NL" dirty="0" err="1"/>
              <a:t>dependency</a:t>
            </a:r>
            <a:r>
              <a:rPr lang="nl-NL" dirty="0"/>
              <a:t> checks</a:t>
            </a:r>
          </a:p>
          <a:p>
            <a:pPr lvl="1"/>
            <a:r>
              <a:rPr lang="nl-NL" dirty="0"/>
              <a:t>Breekt veilige </a:t>
            </a:r>
            <a:r>
              <a:rPr lang="nl-NL" dirty="0" err="1"/>
              <a:t>dependency</a:t>
            </a:r>
            <a:r>
              <a:rPr lang="nl-NL" dirty="0"/>
              <a:t> checks (</a:t>
            </a:r>
            <a:r>
              <a:rPr lang="nl-NL" dirty="0" err="1"/>
              <a:t>transient</a:t>
            </a:r>
            <a:r>
              <a:rPr lang="nl-NL" dirty="0"/>
              <a:t> in singleton)</a:t>
            </a:r>
          </a:p>
          <a:p>
            <a:r>
              <a:rPr lang="nl-NL" dirty="0"/>
              <a:t>Geen </a:t>
            </a:r>
            <a:r>
              <a:rPr lang="nl-NL" dirty="0" err="1"/>
              <a:t>secrets</a:t>
            </a:r>
            <a:r>
              <a:rPr lang="nl-NL" dirty="0"/>
              <a:t> in </a:t>
            </a:r>
            <a:r>
              <a:rPr lang="nl-NL" dirty="0" err="1"/>
              <a:t>AppSettings</a:t>
            </a:r>
            <a:r>
              <a:rPr lang="nl-NL" dirty="0"/>
              <a:t>[.Development].</a:t>
            </a:r>
            <a:r>
              <a:rPr lang="nl-NL" dirty="0" err="1"/>
              <a:t>json</a:t>
            </a:r>
            <a:endParaRPr lang="nl-NL" dirty="0"/>
          </a:p>
          <a:p>
            <a:pPr lvl="1"/>
            <a:r>
              <a:rPr lang="nl-NL" dirty="0"/>
              <a:t>Gebruik user </a:t>
            </a:r>
            <a:r>
              <a:rPr lang="nl-NL" dirty="0" err="1"/>
              <a:t>secrets</a:t>
            </a:r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AA856E4-462E-1792-98FF-0FE36FC9C6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b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</a:b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647432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98AD82-1B68-2519-0D4A-9091FDAEF0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FC190036-9A8F-71E6-8A96-3F15A75162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 err="1"/>
              <a:t>TimeProvider</a:t>
            </a:r>
            <a:r>
              <a:rPr lang="nl-NL" dirty="0"/>
              <a:t> (unit </a:t>
            </a:r>
            <a:r>
              <a:rPr lang="nl-NL" dirty="0" err="1"/>
              <a:t>testing</a:t>
            </a:r>
            <a:r>
              <a:rPr lang="nl-NL" dirty="0"/>
              <a:t> voor alles wat met tijd of timers te maken heeft)</a:t>
            </a:r>
          </a:p>
          <a:p>
            <a:r>
              <a:rPr lang="nl-NL" dirty="0" err="1"/>
              <a:t>HttpClient</a:t>
            </a:r>
            <a:r>
              <a:rPr lang="nl-NL" dirty="0"/>
              <a:t> / </a:t>
            </a:r>
            <a:r>
              <a:rPr lang="nl-NL" dirty="0" err="1"/>
              <a:t>HttpClientFactory</a:t>
            </a:r>
            <a:r>
              <a:rPr lang="nl-NL" dirty="0"/>
              <a:t> (hergebruik van </a:t>
            </a:r>
            <a:r>
              <a:rPr lang="nl-NL" dirty="0" err="1"/>
              <a:t>HttpClient</a:t>
            </a:r>
            <a:r>
              <a:rPr lang="nl-NL" dirty="0"/>
              <a:t>)</a:t>
            </a:r>
          </a:p>
          <a:p>
            <a:r>
              <a:rPr lang="nl-NL" dirty="0"/>
              <a:t>Meters (</a:t>
            </a:r>
            <a:r>
              <a:rPr lang="nl-NL" dirty="0" err="1"/>
              <a:t>perfmon</a:t>
            </a:r>
            <a:r>
              <a:rPr lang="nl-NL" dirty="0"/>
              <a:t> achtige meters)</a:t>
            </a:r>
          </a:p>
          <a:p>
            <a:r>
              <a:rPr lang="nl-NL" dirty="0"/>
              <a:t>Gebruik Extension methodes op </a:t>
            </a:r>
            <a:r>
              <a:rPr lang="nl-NL" dirty="0" err="1"/>
              <a:t>IServiceFactory</a:t>
            </a:r>
            <a:r>
              <a:rPr lang="nl-NL" dirty="0"/>
              <a:t> i.p.v. </a:t>
            </a:r>
            <a:r>
              <a:rPr lang="nl-NL" dirty="0" err="1"/>
              <a:t>AddSingletion</a:t>
            </a:r>
            <a:r>
              <a:rPr lang="nl-NL" dirty="0"/>
              <a:t>&lt;T&gt;</a:t>
            </a:r>
          </a:p>
          <a:p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9CA512-C555-7C61-F46E-D14CE0DC57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vergeslagen onderdelen</a:t>
            </a:r>
          </a:p>
        </p:txBody>
      </p:sp>
    </p:spTree>
    <p:extLst>
      <p:ext uri="{BB962C8B-B14F-4D97-AF65-F5344CB8AC3E}">
        <p14:creationId xmlns:p14="http://schemas.microsoft.com/office/powerpoint/2010/main" val="5538211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Tijdelijke aanduiding voor afbeelding 3">
            <a:extLst>
              <a:ext uri="{FF2B5EF4-FFF2-40B4-BE49-F238E27FC236}">
                <a16:creationId xmlns:a16="http://schemas.microsoft.com/office/drawing/2014/main" id="{B0C1E188-4EDE-EE99-D2BD-DD342978D47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4" b="7864"/>
          <a:stretch/>
        </p:blipFill>
        <p:spPr>
          <a:prstGeom prst="rect">
            <a:avLst/>
          </a:prstGeom>
        </p:spPr>
      </p:pic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3C1F4C2C-9D20-4C0C-4ADA-ED83E44045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582F293F-66E3-DE32-F101-F57988C917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4000" y="867152"/>
            <a:ext cx="2314629" cy="1007520"/>
          </a:xfrm>
        </p:spPr>
        <p:txBody>
          <a:bodyPr/>
          <a:lstStyle/>
          <a:p>
            <a:r>
              <a:rPr lang="nl-NL" dirty="0"/>
              <a:t>Vragen?</a:t>
            </a:r>
          </a:p>
        </p:txBody>
      </p:sp>
    </p:spTree>
    <p:extLst>
      <p:ext uri="{BB962C8B-B14F-4D97-AF65-F5344CB8AC3E}">
        <p14:creationId xmlns:p14="http://schemas.microsoft.com/office/powerpoint/2010/main" val="29403848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ijdelijke aanduiding voor afbeelding 5" descr="Afbeelding met Menselijk gezicht, persoon, kleding, glimlach&#10;&#10;Automatisch gegenereerde beschrijving">
            <a:extLst>
              <a:ext uri="{FF2B5EF4-FFF2-40B4-BE49-F238E27FC236}">
                <a16:creationId xmlns:a16="http://schemas.microsoft.com/office/drawing/2014/main" id="{119B5D23-7738-E8CD-05BF-5809457BBE9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28" r="24928"/>
          <a:stretch>
            <a:fillRect/>
          </a:stretch>
        </p:blipFill>
        <p:spPr/>
      </p:pic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0F89012-78C2-F3C8-4E20-24B1AEFC16B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3997" y="852488"/>
            <a:ext cx="5214369" cy="5132387"/>
          </a:xfrm>
        </p:spPr>
        <p:txBody>
          <a:bodyPr/>
          <a:lstStyle/>
          <a:p>
            <a:r>
              <a:rPr lang="nl-NL" dirty="0"/>
              <a:t>Bart Vries</a:t>
            </a:r>
            <a:br>
              <a:rPr lang="nl-NL" dirty="0"/>
            </a:br>
            <a:r>
              <a:rPr lang="nl-NL" dirty="0"/>
              <a:t>Lead Software Architect</a:t>
            </a:r>
          </a:p>
          <a:p>
            <a:endParaRPr lang="nl-NL" dirty="0"/>
          </a:p>
          <a:p>
            <a:r>
              <a:rPr lang="nl-NL" dirty="0"/>
              <a:t>Bij AFAS in 1999</a:t>
            </a:r>
          </a:p>
        </p:txBody>
      </p:sp>
    </p:spTree>
    <p:extLst>
      <p:ext uri="{BB962C8B-B14F-4D97-AF65-F5344CB8AC3E}">
        <p14:creationId xmlns:p14="http://schemas.microsoft.com/office/powerpoint/2010/main" val="5078608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01146E-F5F7-F926-2D7C-9A10E748D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E991DC5-B128-99AA-2012-4EFF85A307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DAB78E32-8244-E6FF-6320-09D639C03C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FCA45AFB-3FE8-5C90-60F2-073E83D147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7038B339-0353-FB82-647F-E6ACC99DD5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823DF53A-2D0A-4225-4E7E-1EBFE0D943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B5800ADF-B4B8-324B-F2DC-3E2E3D26CDD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99FC4371-871F-3C6E-07E9-46C054DFA0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06E20A65-AD71-6854-8DD1-6640163F509F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988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7EB008-6157-9E87-3A70-C666E1109B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ADAEA6C8-B322-0960-595F-60C9EE5932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dirty="0"/>
              <a:t>Het makkelijk maken om Business componenten te bouwen.</a:t>
            </a:r>
          </a:p>
          <a:p>
            <a:endParaRPr lang="nl-NL" dirty="0"/>
          </a:p>
          <a:p>
            <a:r>
              <a:rPr lang="nl-NL" dirty="0"/>
              <a:t>Generieke </a:t>
            </a:r>
            <a:r>
              <a:rPr lang="nl-NL" dirty="0" err="1"/>
              <a:t>logging</a:t>
            </a:r>
            <a:r>
              <a:rPr lang="nl-NL" dirty="0"/>
              <a:t> want we ondersteunen console apps en </a:t>
            </a:r>
            <a:r>
              <a:rPr lang="nl-NL" dirty="0" err="1"/>
              <a:t>webhosts</a:t>
            </a:r>
            <a:endParaRPr lang="nl-NL" dirty="0"/>
          </a:p>
          <a:p>
            <a:pPr lvl="1"/>
            <a:r>
              <a:rPr lang="nl-NL" dirty="0"/>
              <a:t>Console =&gt; </a:t>
            </a:r>
            <a:r>
              <a:rPr lang="nl-NL" dirty="0" err="1"/>
              <a:t>Console.WriteLine</a:t>
            </a:r>
            <a:endParaRPr lang="nl-NL" dirty="0"/>
          </a:p>
          <a:p>
            <a:pPr lvl="1"/>
            <a:r>
              <a:rPr lang="nl-NL" dirty="0"/>
              <a:t>Web =&gt; Log file</a:t>
            </a:r>
          </a:p>
          <a:p>
            <a:r>
              <a:rPr lang="nl-NL" dirty="0"/>
              <a:t>Meerdere databases ondersteunen</a:t>
            </a:r>
          </a:p>
          <a:p>
            <a:pPr lvl="1"/>
            <a:r>
              <a:rPr lang="nl-NL" dirty="0" err="1"/>
              <a:t>MsSQL</a:t>
            </a:r>
            <a:r>
              <a:rPr lang="nl-NL" dirty="0"/>
              <a:t> </a:t>
            </a:r>
            <a:r>
              <a:rPr lang="nl-NL" dirty="0" err="1"/>
              <a:t>vs</a:t>
            </a:r>
            <a:r>
              <a:rPr lang="nl-NL" dirty="0"/>
              <a:t> </a:t>
            </a:r>
            <a:r>
              <a:rPr lang="nl-NL" dirty="0" err="1"/>
              <a:t>Azure</a:t>
            </a:r>
            <a:r>
              <a:rPr lang="nl-NL" dirty="0"/>
              <a:t> </a:t>
            </a:r>
            <a:r>
              <a:rPr lang="nl-NL" dirty="0" err="1"/>
              <a:t>Tables</a:t>
            </a:r>
            <a:endParaRPr lang="nl-NL" dirty="0"/>
          </a:p>
          <a:p>
            <a:pPr lvl="1"/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6D0506-1039-E9F4-B88E-106F92A5EF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oelen </a:t>
            </a:r>
            <a:r>
              <a:rPr lang="nl-NL" dirty="0" err="1"/>
              <a:t>framework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53121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verticale tekst 9">
            <a:extLst>
              <a:ext uri="{FF2B5EF4-FFF2-40B4-BE49-F238E27FC236}">
                <a16:creationId xmlns:a16="http://schemas.microsoft.com/office/drawing/2014/main" id="{F0840301-51A7-00E6-D434-078834FB3D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A4FA9E6-F1EF-80F0-23A1-13AEB79AB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Framework Model</a:t>
            </a:r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8F985459-885B-106D-669E-CAD37A7311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188" y="1825625"/>
            <a:ext cx="9451780" cy="4159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2571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A7DE56-7FF6-D28E-64FE-F7CD51EDFC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verticale tekst 9">
            <a:extLst>
              <a:ext uri="{FF2B5EF4-FFF2-40B4-BE49-F238E27FC236}">
                <a16:creationId xmlns:a16="http://schemas.microsoft.com/office/drawing/2014/main" id="{2328CCB0-4EC9-1D2E-738B-BD02841AAA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2983A19A-5775-7346-A4CB-7F2AC21B44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Implementatie Model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6A450D74-E4EC-742D-EE62-915CBC0B0A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4000" y="1816100"/>
            <a:ext cx="6564114" cy="4168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2244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B20CCDEA-E521-4E65-944F-F421B9306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Overal waar we </a:t>
            </a:r>
            <a:r>
              <a:rPr lang="nl-NL" dirty="0" err="1"/>
              <a:t>PersonBC</a:t>
            </a:r>
            <a:r>
              <a:rPr lang="nl-NL" dirty="0"/>
              <a:t> nodig hebben </a:t>
            </a:r>
            <a:r>
              <a:rPr lang="nl-NL" dirty="0" err="1"/>
              <a:t>hebben</a:t>
            </a:r>
            <a:r>
              <a:rPr lang="nl-NL" dirty="0"/>
              <a:t> we </a:t>
            </a:r>
            <a:r>
              <a:rPr lang="nl-NL" dirty="0" err="1"/>
              <a:t>StorageSettings</a:t>
            </a:r>
            <a:r>
              <a:rPr lang="nl-NL" dirty="0"/>
              <a:t> nodig.</a:t>
            </a:r>
          </a:p>
          <a:p>
            <a:r>
              <a:rPr lang="nl-NL" dirty="0"/>
              <a:t>Overal moeten we de logger doorgeven.</a:t>
            </a:r>
          </a:p>
          <a:p>
            <a:pPr lvl="1"/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6C5EE05-CD02-C139-F243-3F8AA208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ervice </a:t>
            </a:r>
            <a:r>
              <a:rPr lang="nl-NL" dirty="0" err="1"/>
              <a:t>Dependency</a:t>
            </a:r>
            <a:endParaRPr lang="nl-NL" dirty="0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70D58FB3-CCDA-CF3C-2D1E-33D1952340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7579" y="2819333"/>
            <a:ext cx="9473000" cy="3174666"/>
          </a:xfrm>
          <a:prstGeom prst="rect">
            <a:avLst/>
          </a:prstGeom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C1444D7A-AA3D-43C0-A583-C089FFEA747F}"/>
              </a:ext>
            </a:extLst>
          </p:cNvPr>
          <p:cNvSpPr/>
          <p:nvPr/>
        </p:nvSpPr>
        <p:spPr>
          <a:xfrm>
            <a:off x="7888350" y="3668375"/>
            <a:ext cx="319189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nl-NL" sz="5400" b="1" cap="none" spc="0" dirty="0">
                <a:ln/>
                <a:solidFill>
                  <a:schemeClr val="accent4"/>
                </a:solidFill>
                <a:effectLst/>
              </a:rPr>
              <a:t>Niet doen!</a:t>
            </a:r>
          </a:p>
        </p:txBody>
      </p:sp>
    </p:spTree>
    <p:extLst>
      <p:ext uri="{BB962C8B-B14F-4D97-AF65-F5344CB8AC3E}">
        <p14:creationId xmlns:p14="http://schemas.microsoft.com/office/powerpoint/2010/main" val="4149091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B20CCDEA-E521-4E65-944F-F421B9306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Atomisch</a:t>
            </a:r>
          </a:p>
          <a:p>
            <a:r>
              <a:rPr lang="nl-NL" dirty="0"/>
              <a:t>Deterministisch</a:t>
            </a:r>
          </a:p>
          <a:p>
            <a:r>
              <a:rPr lang="nl-NL" dirty="0"/>
              <a:t>Herhaalbaar</a:t>
            </a:r>
          </a:p>
          <a:p>
            <a:r>
              <a:rPr lang="nl-NL" dirty="0"/>
              <a:t>Onafhankelijk van volgorde &amp;  geïsoleerd</a:t>
            </a:r>
          </a:p>
          <a:p>
            <a:r>
              <a:rPr lang="nl-NL" dirty="0"/>
              <a:t>Snel (ms)</a:t>
            </a:r>
          </a:p>
          <a:p>
            <a:r>
              <a:rPr lang="nl-NL" dirty="0"/>
              <a:t>Makkelijk om op te zetten</a:t>
            </a:r>
          </a:p>
          <a:p>
            <a:endParaRPr lang="nl-NL" dirty="0"/>
          </a:p>
          <a:p>
            <a:pPr marL="0" indent="0">
              <a:buNone/>
            </a:pPr>
            <a:r>
              <a:rPr lang="nl-NL" dirty="0"/>
              <a:t>Unit test </a:t>
            </a:r>
            <a:r>
              <a:rPr lang="nl-NL" dirty="0" err="1"/>
              <a:t>framework</a:t>
            </a:r>
            <a:r>
              <a:rPr lang="nl-NL" dirty="0"/>
              <a:t> zijn ook heel geschikt voor integratie tests.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6C5EE05-CD02-C139-F243-3F8AA208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efinitie van een goede unit test</a:t>
            </a:r>
          </a:p>
        </p:txBody>
      </p:sp>
      <p:pic>
        <p:nvPicPr>
          <p:cNvPr id="2" name="Picture 2" descr="Live demo @ the staff club, Highfield - Digital Learning">
            <a:extLst>
              <a:ext uri="{FF2B5EF4-FFF2-40B4-BE49-F238E27FC236}">
                <a16:creationId xmlns:a16="http://schemas.microsoft.com/office/drawing/2014/main" id="{BD5EF1E3-87DE-927F-7015-14C3D7803C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29357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SBLANGUAGEID" val="nl-N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DBID" val="18E52BEE-B231-4163-953F-624B7C4E5C82"/>
  <p:tag name="MIO_FALLBACK_LAYOUT" val="8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9"/>
  <p:tag name="MIO_EKGUID" val="28522031-0e2a-4734-b9cf-5dfba281b196"/>
  <p:tag name="MIO_VERSION" val="01.05.2024 13:01:28"/>
  <p:tag name="MIO_OBJECTNAME" val="AFAS Software - Dark Modus"/>
  <p:tag name="MIO_SKIPVERSION" val="01.01.0001 00:00:00"/>
  <p:tag name="MIO_LASTDOWNLOADED" val="01.05.2024 15:10:13"/>
  <p:tag name="MIO_CDID" val="d30371fb-bd2b-4816-a0ce-bd6a1479ab6b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DBID" val="18E52BEE-B231-4163-953F-624B7C4E5C82"/>
  <p:tag name="MIO_FALLBACK_LAYOUT" val="8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0"/>
  <p:tag name="MIO_EKGUID" val="21a529b4-4cfd-447d-8f9c-21b244bce69b"/>
  <p:tag name="MIO_VERSION" val="05.09.2018 12:02:03"/>
  <p:tag name="MIO_OBJECTNAME" val="AFAS PP 2018 - LEEG"/>
  <p:tag name="MIO_SKIPVERSION" val="01.01.0001 00:00:00"/>
  <p:tag name="MIO_LASTDOWNLOADED" val="20.07.2022 11:48:51"/>
  <p:tag name="MIO_CDID" val="d30371fb-bd2b-4816-a0ce-bd6a1479ab6b"/>
</p:tagLst>
</file>

<file path=ppt/theme/theme1.xml><?xml version="1.0" encoding="utf-8"?>
<a:theme xmlns:a="http://schemas.openxmlformats.org/drawingml/2006/main" name="AFAS Software">
  <a:themeElements>
    <a:clrScheme name="AFAS - Dark modus">
      <a:dk1>
        <a:srgbClr val="0F172A"/>
      </a:dk1>
      <a:lt1>
        <a:srgbClr val="FFFFFF"/>
      </a:lt1>
      <a:dk2>
        <a:srgbClr val="0074D0"/>
      </a:dk2>
      <a:lt2>
        <a:srgbClr val="D7EAFF"/>
      </a:lt2>
      <a:accent1>
        <a:srgbClr val="0F172A"/>
      </a:accent1>
      <a:accent2>
        <a:srgbClr val="0074D0"/>
      </a:accent2>
      <a:accent3>
        <a:srgbClr val="F59F39"/>
      </a:accent3>
      <a:accent4>
        <a:srgbClr val="D11F43"/>
      </a:accent4>
      <a:accent5>
        <a:srgbClr val="181F24"/>
      </a:accent5>
      <a:accent6>
        <a:srgbClr val="C3CBD3"/>
      </a:accent6>
      <a:hlink>
        <a:srgbClr val="D7EAFF"/>
      </a:hlink>
      <a:folHlink>
        <a:srgbClr val="F59F39"/>
      </a:folHlink>
    </a:clrScheme>
    <a:fontScheme name="01 - AFAS STANDAARD">
      <a:majorFont>
        <a:latin typeface="Roboto Black"/>
        <a:ea typeface=""/>
        <a:cs typeface=""/>
      </a:majorFont>
      <a:minorFont>
        <a:latin typeface="Roboto Light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5FAA"/>
        </a:solidFill>
        <a:ln w="9525" cap="flat">
          <a:noFill/>
          <a:prstDash val="solid"/>
          <a:miter/>
        </a:ln>
      </a:spPr>
      <a:bodyPr rtlCol="0" anchor="ctr"/>
      <a:lstStyle>
        <a:defPPr algn="l">
          <a:defRPr/>
        </a:defPPr>
      </a:lst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e3" id="{9AA7753D-772A-4D66-8306-D4A528F0A465}" vid="{FF740551-5B84-49A8-99AB-D02A9BC3CB80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FAS Software - Dark Modus</Template>
  <TotalTime>1014</TotalTime>
  <Words>1059</Words>
  <Application>Microsoft Office PowerPoint</Application>
  <PresentationFormat>Breedbeeld</PresentationFormat>
  <Paragraphs>213</Paragraphs>
  <Slides>26</Slides>
  <Notes>18</Notes>
  <HiddenSlides>1</HiddenSlides>
  <MMClips>0</MMClips>
  <ScaleCrop>false</ScaleCrop>
  <HeadingPairs>
    <vt:vector size="6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1</vt:i4>
      </vt:variant>
      <vt:variant>
        <vt:lpstr>Diatitels</vt:lpstr>
      </vt:variant>
      <vt:variant>
        <vt:i4>26</vt:i4>
      </vt:variant>
    </vt:vector>
  </HeadingPairs>
  <TitlesOfParts>
    <vt:vector size="33" baseType="lpstr">
      <vt:lpstr>Arial</vt:lpstr>
      <vt:lpstr>Calibri</vt:lpstr>
      <vt:lpstr>Roboto</vt:lpstr>
      <vt:lpstr>Roboto Black</vt:lpstr>
      <vt:lpstr>Roboto Light</vt:lpstr>
      <vt:lpstr>Wingdings</vt:lpstr>
      <vt:lpstr>AFAS Software</vt:lpstr>
      <vt:lpstr>Bouw jouw Powerpoint met de template</vt:lpstr>
      <vt:lpstr>PowerPoint-presentatie</vt:lpstr>
      <vt:lpstr>PowerPoint-presentatie</vt:lpstr>
      <vt:lpstr>PowerPoint-presentatie</vt:lpstr>
      <vt:lpstr>Doelen framework</vt:lpstr>
      <vt:lpstr>Framework Model</vt:lpstr>
      <vt:lpstr>Implementatie Model</vt:lpstr>
      <vt:lpstr>Service Dependency</vt:lpstr>
      <vt:lpstr>Definitie van een goede unit test</vt:lpstr>
      <vt:lpstr>Core DI voordelen</vt:lpstr>
      <vt:lpstr>Core DI levensduur en delen</vt:lpstr>
      <vt:lpstr>Core DI veilige dependencies</vt:lpstr>
      <vt:lpstr>PowerPoint-presentatie</vt:lpstr>
      <vt:lpstr>Wat hebben we geleerd</vt:lpstr>
      <vt:lpstr>PowerPoint-presentatie</vt:lpstr>
      <vt:lpstr>PowerPoint-presentatie</vt:lpstr>
      <vt:lpstr>Wat is er te verbeteren aan settings?</vt:lpstr>
      <vt:lpstr>Bronnen IConfiguration</vt:lpstr>
      <vt:lpstr>Lezen IConfiguration</vt:lpstr>
      <vt:lpstr>PowerPoint-presentatie</vt:lpstr>
      <vt:lpstr>Wat is er te verbeteren aan logging?</vt:lpstr>
      <vt:lpstr>Output Logging</vt:lpstr>
      <vt:lpstr>PowerPoint-presentatie</vt:lpstr>
      <vt:lpstr>Best practices </vt:lpstr>
      <vt:lpstr>Overgeslagen onderdelen</vt:lpstr>
      <vt:lpstr>PowerPoint-presentatie</vt:lpstr>
    </vt:vector>
  </TitlesOfParts>
  <Company/>
  <LinksUpToDate>false</LinksUpToDate>
  <SharedDoc>false</SharedDoc>
  <HyperlinkBase>afas.nl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cco Faaij</dc:creator>
  <cp:keywords>AFAS Software Powerpoint</cp:keywords>
  <cp:lastModifiedBy>Bart Vries</cp:lastModifiedBy>
  <cp:revision>2</cp:revision>
  <dcterms:created xsi:type="dcterms:W3CDTF">2024-11-29T13:47:43Z</dcterms:created>
  <dcterms:modified xsi:type="dcterms:W3CDTF">2024-12-18T17:04:28Z</dcterms:modified>
</cp:coreProperties>
</file>